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sldIdLst>
    <p:sldId id="578" r:id="rId5"/>
    <p:sldId id="257" r:id="rId6"/>
    <p:sldId id="258" r:id="rId7"/>
    <p:sldId id="644" r:id="rId8"/>
    <p:sldId id="645" r:id="rId9"/>
    <p:sldId id="646" r:id="rId10"/>
    <p:sldId id="647" r:id="rId11"/>
    <p:sldId id="648" r:id="rId12"/>
    <p:sldId id="630" r:id="rId13"/>
  </p:sldIdLst>
  <p:sldSz cx="12192000" cy="6858000"/>
  <p:notesSz cx="6858000" cy="9144000"/>
  <p:custDataLst>
    <p:tags r:id="rId15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634C4D29-6CC3-4140-BB11-585F74AA4016}">
          <p14:sldIdLst>
            <p14:sldId id="578"/>
            <p14:sldId id="257"/>
            <p14:sldId id="258"/>
            <p14:sldId id="644"/>
            <p14:sldId id="645"/>
            <p14:sldId id="646"/>
            <p14:sldId id="647"/>
            <p14:sldId id="648"/>
            <p14:sldId id="63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6102" autoAdjust="0"/>
    <p:restoredTop sz="96283" autoAdjust="0"/>
  </p:normalViewPr>
  <p:slideViewPr>
    <p:cSldViewPr snapToGrid="0">
      <p:cViewPr varScale="1">
        <p:scale>
          <a:sx n="72" d="100"/>
          <a:sy n="72" d="100"/>
        </p:scale>
        <p:origin x="58" y="12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2560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30300DF4-F54E-44E7-A061-EDAEC56D392E}"/>
    <pc:docChg chg="modSld">
      <pc:chgData name="Konstantin Glukhenkiy" userId="24b49d37-c936-4e44-8fab-4bfac34f62f4" providerId="ADAL" clId="{30300DF4-F54E-44E7-A061-EDAEC56D392E}" dt="2025-08-31T12:23:05.593" v="3" actId="6549"/>
      <pc:docMkLst>
        <pc:docMk/>
      </pc:docMkLst>
      <pc:sldChg chg="modSp mod">
        <pc:chgData name="Konstantin Glukhenkiy" userId="24b49d37-c936-4e44-8fab-4bfac34f62f4" providerId="ADAL" clId="{30300DF4-F54E-44E7-A061-EDAEC56D392E}" dt="2025-08-31T12:23:05.593" v="3" actId="6549"/>
        <pc:sldMkLst>
          <pc:docMk/>
          <pc:sldMk cId="1800087834" sldId="578"/>
        </pc:sldMkLst>
        <pc:spChg chg="mod">
          <ac:chgData name="Konstantin Glukhenkiy" userId="24b49d37-c936-4e44-8fab-4bfac34f62f4" providerId="ADAL" clId="{30300DF4-F54E-44E7-A061-EDAEC56D392E}" dt="2025-08-31T12:23:05.593" v="3" actId="6549"/>
          <ac:spMkLst>
            <pc:docMk/>
            <pc:sldMk cId="1800087834" sldId="578"/>
            <ac:spMk id="5" creationId="{F6FC4AF4-E468-4466-AB2F-DF925A5E6D87}"/>
          </ac:spMkLst>
        </pc:spChg>
      </pc:sldChg>
    </pc:docChg>
  </pc:docChgLst>
  <pc:docChgLst>
    <pc:chgData name="DENOUAL Yannick" userId="7ae1938d-f8f5-4af6-9418-c4b0dd201c41" providerId="ADAL" clId="{16C6779F-ACF6-4E48-A801-C1D6D2538B59}"/>
    <pc:docChg chg="undo custSel addSld delSld modSld addMainMaster delMainMaster modMainMaster modSection">
      <pc:chgData name="DENOUAL Yannick" userId="7ae1938d-f8f5-4af6-9418-c4b0dd201c41" providerId="ADAL" clId="{16C6779F-ACF6-4E48-A801-C1D6D2538B59}" dt="2025-08-29T14:24:21.001" v="7274" actId="313"/>
      <pc:docMkLst>
        <pc:docMk/>
      </pc:docMkLst>
      <pc:sldChg chg="modSp add mod">
        <pc:chgData name="DENOUAL Yannick" userId="7ae1938d-f8f5-4af6-9418-c4b0dd201c41" providerId="ADAL" clId="{16C6779F-ACF6-4E48-A801-C1D6D2538B59}" dt="2025-08-26T16:25:32.490" v="1962" actId="12"/>
        <pc:sldMkLst>
          <pc:docMk/>
          <pc:sldMk cId="1785079533" sldId="257"/>
        </pc:sldMkLst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1785079533" sldId="257"/>
            <ac:spMk id="2" creationId="{BB0BF722-E066-49B9-A779-3CDCF613DA70}"/>
          </ac:spMkLst>
        </pc:spChg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1785079533" sldId="257"/>
            <ac:spMk id="12" creationId="{148C6546-737F-40DA-917A-ED6C9FFAFFCE}"/>
          </ac:spMkLst>
        </pc:spChg>
        <pc:graphicFrameChg chg="mod modGraphic">
          <ac:chgData name="DENOUAL Yannick" userId="7ae1938d-f8f5-4af6-9418-c4b0dd201c41" providerId="ADAL" clId="{16C6779F-ACF6-4E48-A801-C1D6D2538B59}" dt="2025-08-26T16:25:32.490" v="1962" actId="12"/>
          <ac:graphicFrameMkLst>
            <pc:docMk/>
            <pc:sldMk cId="1785079533" sldId="257"/>
            <ac:graphicFrameMk id="10" creationId="{C8594C73-26ED-49AC-BB15-8A214F054849}"/>
          </ac:graphicFrameMkLst>
        </pc:graphicFrameChg>
      </pc:sldChg>
      <pc:sldChg chg="delSp modSp add mod">
        <pc:chgData name="DENOUAL Yannick" userId="7ae1938d-f8f5-4af6-9418-c4b0dd201c41" providerId="ADAL" clId="{16C6779F-ACF6-4E48-A801-C1D6D2538B59}" dt="2025-08-26T16:36:20.122" v="2205" actId="478"/>
        <pc:sldMkLst>
          <pc:docMk/>
          <pc:sldMk cId="877310329" sldId="258"/>
        </pc:sldMkLst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877310329" sldId="258"/>
            <ac:spMk id="2" creationId="{D8CAE050-DC66-4CB1-9731-D0C28A1201AE}"/>
          </ac:spMkLst>
        </pc:spChg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877310329" sldId="258"/>
            <ac:spMk id="5" creationId="{490368D7-8BAB-4071-ACEA-B916170677B6}"/>
          </ac:spMkLst>
        </pc:spChg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877310329" sldId="258"/>
            <ac:spMk id="6" creationId="{57D7C7A9-48CE-448F-9DB6-ABD4EEF7C894}"/>
          </ac:spMkLst>
        </pc:spChg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877310329" sldId="258"/>
            <ac:spMk id="7" creationId="{83501727-A4F3-4312-989C-C75C01114E58}"/>
          </ac:spMkLst>
        </pc:spChg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877310329" sldId="258"/>
            <ac:spMk id="8" creationId="{E6987A07-D61E-69E0-B1BB-69AE180EE404}"/>
          </ac:spMkLst>
        </pc:spChg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877310329" sldId="258"/>
            <ac:spMk id="10" creationId="{35EC0792-B346-15BF-716A-099AEA86F9AC}"/>
          </ac:spMkLst>
        </pc:spChg>
      </pc:sldChg>
      <pc:sldChg chg="addSp modSp del mod modShow">
        <pc:chgData name="DENOUAL Yannick" userId="7ae1938d-f8f5-4af6-9418-c4b0dd201c41" providerId="ADAL" clId="{16C6779F-ACF6-4E48-A801-C1D6D2538B59}" dt="2025-08-26T15:36:29.232" v="957" actId="47"/>
        <pc:sldMkLst>
          <pc:docMk/>
          <pc:sldMk cId="3539588808" sldId="275"/>
        </pc:sldMkLst>
      </pc:sldChg>
      <pc:sldChg chg="modSp mod">
        <pc:chgData name="DENOUAL Yannick" userId="7ae1938d-f8f5-4af6-9418-c4b0dd201c41" providerId="ADAL" clId="{16C6779F-ACF6-4E48-A801-C1D6D2538B59}" dt="2025-08-26T16:04:22.379" v="1475" actId="790"/>
        <pc:sldMkLst>
          <pc:docMk/>
          <pc:sldMk cId="1800087834" sldId="578"/>
        </pc:sldMkLst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1800087834" sldId="578"/>
            <ac:spMk id="2" creationId="{5A126C82-208A-4942-A7F6-8E5D375728F5}"/>
          </ac:spMkLst>
        </pc:spChg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1800087834" sldId="578"/>
            <ac:spMk id="3" creationId="{CAD92662-9D5D-46D5-9C8A-7E4B76847114}"/>
          </ac:spMkLst>
        </pc:spChg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1800087834" sldId="578"/>
            <ac:spMk id="4" creationId="{5BA46932-961C-4162-8C77-9056444970D8}"/>
          </ac:spMkLst>
        </pc:spChg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1800087834" sldId="578"/>
            <ac:spMk id="5" creationId="{F6FC4AF4-E468-4466-AB2F-DF925A5E6D87}"/>
          </ac:spMkLst>
        </pc:spChg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214986330" sldId="605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2743204945" sldId="606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2139357397" sldId="608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2692975114" sldId="609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1179975450" sldId="610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1194230943" sldId="611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2558838533" sldId="612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1461086239" sldId="613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3400016477" sldId="614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2638600308" sldId="615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4032928363" sldId="616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1586073406" sldId="617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846601022" sldId="618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2363770673" sldId="619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2901652984" sldId="620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2870827459" sldId="621"/>
        </pc:sldMkLst>
      </pc:sldChg>
      <pc:sldChg chg="delSp modSp mod">
        <pc:chgData name="DENOUAL Yannick" userId="7ae1938d-f8f5-4af6-9418-c4b0dd201c41" providerId="ADAL" clId="{16C6779F-ACF6-4E48-A801-C1D6D2538B59}" dt="2025-08-28T06:58:15.760" v="6943" actId="478"/>
        <pc:sldMkLst>
          <pc:docMk/>
          <pc:sldMk cId="659037649" sldId="630"/>
        </pc:sldMkLst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659037649" sldId="630"/>
            <ac:spMk id="2" creationId="{BC2174B0-794C-4460-BC29-5336BD041ABC}"/>
          </ac:spMkLst>
        </pc:spChg>
      </pc:sldChg>
      <pc:sldChg chg="modSp del mod modShow">
        <pc:chgData name="DENOUAL Yannick" userId="7ae1938d-f8f5-4af6-9418-c4b0dd201c41" providerId="ADAL" clId="{16C6779F-ACF6-4E48-A801-C1D6D2538B59}" dt="2025-08-26T15:36:34.487" v="958" actId="47"/>
        <pc:sldMkLst>
          <pc:docMk/>
          <pc:sldMk cId="2596472107" sldId="631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1808584248" sldId="632"/>
        </pc:sldMkLst>
      </pc:sldChg>
      <pc:sldChg chg="del">
        <pc:chgData name="DENOUAL Yannick" userId="7ae1938d-f8f5-4af6-9418-c4b0dd201c41" providerId="ADAL" clId="{16C6779F-ACF6-4E48-A801-C1D6D2538B59}" dt="2025-08-26T15:38:42.400" v="960" actId="47"/>
        <pc:sldMkLst>
          <pc:docMk/>
          <pc:sldMk cId="1427854985" sldId="633"/>
        </pc:sldMkLst>
      </pc:sldChg>
      <pc:sldChg chg="del">
        <pc:chgData name="DENOUAL Yannick" userId="7ae1938d-f8f5-4af6-9418-c4b0dd201c41" providerId="ADAL" clId="{16C6779F-ACF6-4E48-A801-C1D6D2538B59}" dt="2025-08-26T15:38:42.400" v="960" actId="47"/>
        <pc:sldMkLst>
          <pc:docMk/>
          <pc:sldMk cId="4082010195" sldId="634"/>
        </pc:sldMkLst>
      </pc:sldChg>
      <pc:sldChg chg="del">
        <pc:chgData name="DENOUAL Yannick" userId="7ae1938d-f8f5-4af6-9418-c4b0dd201c41" providerId="ADAL" clId="{16C6779F-ACF6-4E48-A801-C1D6D2538B59}" dt="2025-08-26T15:38:42.400" v="960" actId="47"/>
        <pc:sldMkLst>
          <pc:docMk/>
          <pc:sldMk cId="3644540676" sldId="636"/>
        </pc:sldMkLst>
      </pc:sldChg>
      <pc:sldChg chg="del">
        <pc:chgData name="DENOUAL Yannick" userId="7ae1938d-f8f5-4af6-9418-c4b0dd201c41" providerId="ADAL" clId="{16C6779F-ACF6-4E48-A801-C1D6D2538B59}" dt="2025-08-26T15:38:42.400" v="960" actId="47"/>
        <pc:sldMkLst>
          <pc:docMk/>
          <pc:sldMk cId="131644467" sldId="637"/>
        </pc:sldMkLst>
      </pc:sldChg>
      <pc:sldChg chg="del">
        <pc:chgData name="DENOUAL Yannick" userId="7ae1938d-f8f5-4af6-9418-c4b0dd201c41" providerId="ADAL" clId="{16C6779F-ACF6-4E48-A801-C1D6D2538B59}" dt="2025-08-26T15:38:42.400" v="960" actId="47"/>
        <pc:sldMkLst>
          <pc:docMk/>
          <pc:sldMk cId="1357890672" sldId="638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1388535360" sldId="640"/>
        </pc:sldMkLst>
      </pc:sldChg>
      <pc:sldChg chg="modSp del mod">
        <pc:chgData name="DENOUAL Yannick" userId="7ae1938d-f8f5-4af6-9418-c4b0dd201c41" providerId="ADAL" clId="{16C6779F-ACF6-4E48-A801-C1D6D2538B59}" dt="2025-08-27T09:48:54.475" v="5218" actId="47"/>
        <pc:sldMkLst>
          <pc:docMk/>
          <pc:sldMk cId="3248078034" sldId="641"/>
        </pc:sldMkLst>
      </pc:sldChg>
      <pc:sldChg chg="delSp modSp del mod">
        <pc:chgData name="DENOUAL Yannick" userId="7ae1938d-f8f5-4af6-9418-c4b0dd201c41" providerId="ADAL" clId="{16C6779F-ACF6-4E48-A801-C1D6D2538B59}" dt="2025-08-28T06:58:09.618" v="6942" actId="47"/>
        <pc:sldMkLst>
          <pc:docMk/>
          <pc:sldMk cId="2716271216" sldId="642"/>
        </pc:sldMkLst>
      </pc:sldChg>
      <pc:sldChg chg="addSp delSp modSp add del mod">
        <pc:chgData name="DENOUAL Yannick" userId="7ae1938d-f8f5-4af6-9418-c4b0dd201c41" providerId="ADAL" clId="{16C6779F-ACF6-4E48-A801-C1D6D2538B59}" dt="2025-08-26T16:40:56.695" v="2230" actId="47"/>
        <pc:sldMkLst>
          <pc:docMk/>
          <pc:sldMk cId="3702533495" sldId="643"/>
        </pc:sldMkLst>
      </pc:sldChg>
      <pc:sldChg chg="addSp delSp modSp add mod">
        <pc:chgData name="DENOUAL Yannick" userId="7ae1938d-f8f5-4af6-9418-c4b0dd201c41" providerId="ADAL" clId="{16C6779F-ACF6-4E48-A801-C1D6D2538B59}" dt="2025-08-29T10:08:13.805" v="7190" actId="1035"/>
        <pc:sldMkLst>
          <pc:docMk/>
          <pc:sldMk cId="2716732943" sldId="644"/>
        </pc:sldMkLst>
        <pc:spChg chg="mod">
          <ac:chgData name="DENOUAL Yannick" userId="7ae1938d-f8f5-4af6-9418-c4b0dd201c41" providerId="ADAL" clId="{16C6779F-ACF6-4E48-A801-C1D6D2538B59}" dt="2025-08-26T16:41:44.293" v="2263" actId="14100"/>
          <ac:spMkLst>
            <pc:docMk/>
            <pc:sldMk cId="2716732943" sldId="644"/>
            <ac:spMk id="2" creationId="{89E9A4F1-7E42-FEB3-63F3-9C55EB07D4B0}"/>
          </ac:spMkLst>
        </pc:spChg>
        <pc:spChg chg="add mod">
          <ac:chgData name="DENOUAL Yannick" userId="7ae1938d-f8f5-4af6-9418-c4b0dd201c41" providerId="ADAL" clId="{16C6779F-ACF6-4E48-A801-C1D6D2538B59}" dt="2025-08-26T16:44:38.764" v="2299" actId="1076"/>
          <ac:spMkLst>
            <pc:docMk/>
            <pc:sldMk cId="2716732943" sldId="644"/>
            <ac:spMk id="3" creationId="{07A925DF-29AA-6F73-9119-1A7B669DFD41}"/>
          </ac:spMkLst>
        </pc:spChg>
        <pc:spChg chg="mod">
          <ac:chgData name="DENOUAL Yannick" userId="7ae1938d-f8f5-4af6-9418-c4b0dd201c41" providerId="ADAL" clId="{16C6779F-ACF6-4E48-A801-C1D6D2538B59}" dt="2025-08-26T16:04:22.379" v="1475" actId="790"/>
          <ac:spMkLst>
            <pc:docMk/>
            <pc:sldMk cId="2716732943" sldId="644"/>
            <ac:spMk id="5" creationId="{42F1F644-5F55-8394-A8F7-3FA8D1EA9578}"/>
          </ac:spMkLst>
        </pc:spChg>
        <pc:spChg chg="mod">
          <ac:chgData name="DENOUAL Yannick" userId="7ae1938d-f8f5-4af6-9418-c4b0dd201c41" providerId="ADAL" clId="{16C6779F-ACF6-4E48-A801-C1D6D2538B59}" dt="2025-08-26T16:37:31.547" v="2210" actId="14100"/>
          <ac:spMkLst>
            <pc:docMk/>
            <pc:sldMk cId="2716732943" sldId="644"/>
            <ac:spMk id="6" creationId="{A2448437-0628-62E6-ED1C-1AEF1C33C304}"/>
          </ac:spMkLst>
        </pc:spChg>
        <pc:spChg chg="add mod">
          <ac:chgData name="DENOUAL Yannick" userId="7ae1938d-f8f5-4af6-9418-c4b0dd201c41" providerId="ADAL" clId="{16C6779F-ACF6-4E48-A801-C1D6D2538B59}" dt="2025-08-27T08:48:55.840" v="3544" actId="3626"/>
          <ac:spMkLst>
            <pc:docMk/>
            <pc:sldMk cId="2716732943" sldId="644"/>
            <ac:spMk id="14" creationId="{7FBCA543-1453-7096-9EE3-E01EE5413242}"/>
          </ac:spMkLst>
        </pc:spChg>
        <pc:spChg chg="add mod">
          <ac:chgData name="DENOUAL Yannick" userId="7ae1938d-f8f5-4af6-9418-c4b0dd201c41" providerId="ADAL" clId="{16C6779F-ACF6-4E48-A801-C1D6D2538B59}" dt="2025-08-29T10:08:13.805" v="7190" actId="1035"/>
          <ac:spMkLst>
            <pc:docMk/>
            <pc:sldMk cId="2716732943" sldId="644"/>
            <ac:spMk id="15" creationId="{EEFF7B38-2BC6-B0A6-090D-C2A264EB299F}"/>
          </ac:spMkLst>
        </pc:spChg>
        <pc:spChg chg="add mod">
          <ac:chgData name="DENOUAL Yannick" userId="7ae1938d-f8f5-4af6-9418-c4b0dd201c41" providerId="ADAL" clId="{16C6779F-ACF6-4E48-A801-C1D6D2538B59}" dt="2025-08-29T10:08:13.805" v="7190" actId="1035"/>
          <ac:spMkLst>
            <pc:docMk/>
            <pc:sldMk cId="2716732943" sldId="644"/>
            <ac:spMk id="16" creationId="{E4BBC733-96F8-14B2-F4CD-1E408C790AEA}"/>
          </ac:spMkLst>
        </pc:spChg>
        <pc:spChg chg="add mod">
          <ac:chgData name="DENOUAL Yannick" userId="7ae1938d-f8f5-4af6-9418-c4b0dd201c41" providerId="ADAL" clId="{16C6779F-ACF6-4E48-A801-C1D6D2538B59}" dt="2025-08-29T10:08:13.805" v="7190" actId="1035"/>
          <ac:spMkLst>
            <pc:docMk/>
            <pc:sldMk cId="2716732943" sldId="644"/>
            <ac:spMk id="17" creationId="{DE5BC283-08B5-0C05-AA18-E0DA0294B81A}"/>
          </ac:spMkLst>
        </pc:spChg>
        <pc:spChg chg="add mod">
          <ac:chgData name="DENOUAL Yannick" userId="7ae1938d-f8f5-4af6-9418-c4b0dd201c41" providerId="ADAL" clId="{16C6779F-ACF6-4E48-A801-C1D6D2538B59}" dt="2025-08-29T10:08:13.805" v="7190" actId="1035"/>
          <ac:spMkLst>
            <pc:docMk/>
            <pc:sldMk cId="2716732943" sldId="644"/>
            <ac:spMk id="18" creationId="{0E68140A-A646-2A37-2EAF-5F1D0BD562F3}"/>
          </ac:spMkLst>
        </pc:spChg>
        <pc:spChg chg="add mod">
          <ac:chgData name="DENOUAL Yannick" userId="7ae1938d-f8f5-4af6-9418-c4b0dd201c41" providerId="ADAL" clId="{16C6779F-ACF6-4E48-A801-C1D6D2538B59}" dt="2025-08-29T10:08:13.805" v="7190" actId="1035"/>
          <ac:spMkLst>
            <pc:docMk/>
            <pc:sldMk cId="2716732943" sldId="644"/>
            <ac:spMk id="19" creationId="{81841097-5753-8369-9E29-D619BC6D8DC2}"/>
          </ac:spMkLst>
        </pc:spChg>
      </pc:sldChg>
      <pc:sldChg chg="modSp add del mod">
        <pc:chgData name="DENOUAL Yannick" userId="7ae1938d-f8f5-4af6-9418-c4b0dd201c41" providerId="ADAL" clId="{16C6779F-ACF6-4E48-A801-C1D6D2538B59}" dt="2025-08-26T16:41:49.422" v="2264" actId="47"/>
        <pc:sldMkLst>
          <pc:docMk/>
          <pc:sldMk cId="176149204" sldId="645"/>
        </pc:sldMkLst>
      </pc:sldChg>
      <pc:sldChg chg="addSp delSp modSp add mod">
        <pc:chgData name="DENOUAL Yannick" userId="7ae1938d-f8f5-4af6-9418-c4b0dd201c41" providerId="ADAL" clId="{16C6779F-ACF6-4E48-A801-C1D6D2538B59}" dt="2025-08-29T14:24:21.001" v="7274" actId="313"/>
        <pc:sldMkLst>
          <pc:docMk/>
          <pc:sldMk cId="989111452" sldId="645"/>
        </pc:sldMkLst>
        <pc:spChg chg="mod">
          <ac:chgData name="DENOUAL Yannick" userId="7ae1938d-f8f5-4af6-9418-c4b0dd201c41" providerId="ADAL" clId="{16C6779F-ACF6-4E48-A801-C1D6D2538B59}" dt="2025-08-27T08:38:44.885" v="3504" actId="403"/>
          <ac:spMkLst>
            <pc:docMk/>
            <pc:sldMk cId="989111452" sldId="645"/>
            <ac:spMk id="2" creationId="{FCCC9B96-18CA-E689-1A07-A7284053BB09}"/>
          </ac:spMkLst>
        </pc:spChg>
        <pc:spChg chg="mod">
          <ac:chgData name="DENOUAL Yannick" userId="7ae1938d-f8f5-4af6-9418-c4b0dd201c41" providerId="ADAL" clId="{16C6779F-ACF6-4E48-A801-C1D6D2538B59}" dt="2025-08-27T08:39:12.613" v="3508" actId="1076"/>
          <ac:spMkLst>
            <pc:docMk/>
            <pc:sldMk cId="989111452" sldId="645"/>
            <ac:spMk id="3" creationId="{65A4C964-3B34-0800-7047-CE61CA23FA2A}"/>
          </ac:spMkLst>
        </pc:spChg>
        <pc:spChg chg="add mod">
          <ac:chgData name="DENOUAL Yannick" userId="7ae1938d-f8f5-4af6-9418-c4b0dd201c41" providerId="ADAL" clId="{16C6779F-ACF6-4E48-A801-C1D6D2538B59}" dt="2025-08-27T09:48:06.503" v="5217" actId="1076"/>
          <ac:spMkLst>
            <pc:docMk/>
            <pc:sldMk cId="989111452" sldId="645"/>
            <ac:spMk id="4" creationId="{7550548A-1A8F-AAF1-3F67-3DE7E713384C}"/>
          </ac:spMkLst>
        </pc:spChg>
        <pc:spChg chg="add mod">
          <ac:chgData name="DENOUAL Yannick" userId="7ae1938d-f8f5-4af6-9418-c4b0dd201c41" providerId="ADAL" clId="{16C6779F-ACF6-4E48-A801-C1D6D2538B59}" dt="2025-08-27T08:41:34.032" v="3540" actId="1038"/>
          <ac:spMkLst>
            <pc:docMk/>
            <pc:sldMk cId="989111452" sldId="645"/>
            <ac:spMk id="8" creationId="{D658F15D-ED96-8984-CA92-ED66173A7713}"/>
          </ac:spMkLst>
        </pc:spChg>
        <pc:spChg chg="add mod">
          <ac:chgData name="DENOUAL Yannick" userId="7ae1938d-f8f5-4af6-9418-c4b0dd201c41" providerId="ADAL" clId="{16C6779F-ACF6-4E48-A801-C1D6D2538B59}" dt="2025-08-29T14:20:50.701" v="7199" actId="207"/>
          <ac:spMkLst>
            <pc:docMk/>
            <pc:sldMk cId="989111452" sldId="645"/>
            <ac:spMk id="9" creationId="{2708726A-8603-FC39-466B-C6E5955325F3}"/>
          </ac:spMkLst>
        </pc:spChg>
        <pc:spChg chg="add mod">
          <ac:chgData name="DENOUAL Yannick" userId="7ae1938d-f8f5-4af6-9418-c4b0dd201c41" providerId="ADAL" clId="{16C6779F-ACF6-4E48-A801-C1D6D2538B59}" dt="2025-08-29T14:24:21.001" v="7274" actId="313"/>
          <ac:spMkLst>
            <pc:docMk/>
            <pc:sldMk cId="989111452" sldId="645"/>
            <ac:spMk id="13" creationId="{295B42CA-CF2F-6BA1-F5EC-B0E96E7704DB}"/>
          </ac:spMkLst>
        </pc:spChg>
        <pc:spChg chg="add mod">
          <ac:chgData name="DENOUAL Yannick" userId="7ae1938d-f8f5-4af6-9418-c4b0dd201c41" providerId="ADAL" clId="{16C6779F-ACF6-4E48-A801-C1D6D2538B59}" dt="2025-08-29T14:20:54.703" v="7200" actId="207"/>
          <ac:spMkLst>
            <pc:docMk/>
            <pc:sldMk cId="989111452" sldId="645"/>
            <ac:spMk id="14" creationId="{017E3B5F-80C6-D3CC-1127-EBE9F61E5694}"/>
          </ac:spMkLst>
        </pc:spChg>
        <pc:graphicFrameChg chg="add mod ord modGraphic">
          <ac:chgData name="DENOUAL Yannick" userId="7ae1938d-f8f5-4af6-9418-c4b0dd201c41" providerId="ADAL" clId="{16C6779F-ACF6-4E48-A801-C1D6D2538B59}" dt="2025-08-29T14:23:43.106" v="7273" actId="20577"/>
          <ac:graphicFrameMkLst>
            <pc:docMk/>
            <pc:sldMk cId="989111452" sldId="645"/>
            <ac:graphicFrameMk id="10" creationId="{22D8D8C4-F65F-3E11-6207-7DE6474847AE}"/>
          </ac:graphicFrameMkLst>
        </pc:graphicFrameChg>
      </pc:sldChg>
      <pc:sldChg chg="addSp delSp modSp add mod">
        <pc:chgData name="DENOUAL Yannick" userId="7ae1938d-f8f5-4af6-9418-c4b0dd201c41" providerId="ADAL" clId="{16C6779F-ACF6-4E48-A801-C1D6D2538B59}" dt="2025-08-29T14:21:20.178" v="7201" actId="313"/>
        <pc:sldMkLst>
          <pc:docMk/>
          <pc:sldMk cId="3700638566" sldId="646"/>
        </pc:sldMkLst>
        <pc:spChg chg="mod">
          <ac:chgData name="DENOUAL Yannick" userId="7ae1938d-f8f5-4af6-9418-c4b0dd201c41" providerId="ADAL" clId="{16C6779F-ACF6-4E48-A801-C1D6D2538B59}" dt="2025-08-27T09:13:13.350" v="3903" actId="20577"/>
          <ac:spMkLst>
            <pc:docMk/>
            <pc:sldMk cId="3700638566" sldId="646"/>
            <ac:spMk id="2" creationId="{176DEE74-1DA2-89A0-7C0D-1C98FB8C7272}"/>
          </ac:spMkLst>
        </pc:spChg>
        <pc:spChg chg="mod">
          <ac:chgData name="DENOUAL Yannick" userId="7ae1938d-f8f5-4af6-9418-c4b0dd201c41" providerId="ADAL" clId="{16C6779F-ACF6-4E48-A801-C1D6D2538B59}" dt="2025-08-27T09:47:58.351" v="5215" actId="1076"/>
          <ac:spMkLst>
            <pc:docMk/>
            <pc:sldMk cId="3700638566" sldId="646"/>
            <ac:spMk id="4" creationId="{DA35C868-D555-416E-2FF7-EBBB2771035D}"/>
          </ac:spMkLst>
        </pc:spChg>
        <pc:spChg chg="add mod">
          <ac:chgData name="DENOUAL Yannick" userId="7ae1938d-f8f5-4af6-9418-c4b0dd201c41" providerId="ADAL" clId="{16C6779F-ACF6-4E48-A801-C1D6D2538B59}" dt="2025-08-29T14:21:20.178" v="7201" actId="313"/>
          <ac:spMkLst>
            <pc:docMk/>
            <pc:sldMk cId="3700638566" sldId="646"/>
            <ac:spMk id="6" creationId="{DF163C89-A3BD-A1DD-3270-16F806BA2713}"/>
          </ac:spMkLst>
        </pc:spChg>
        <pc:spChg chg="add mod">
          <ac:chgData name="DENOUAL Yannick" userId="7ae1938d-f8f5-4af6-9418-c4b0dd201c41" providerId="ADAL" clId="{16C6779F-ACF6-4E48-A801-C1D6D2538B59}" dt="2025-08-29T10:09:59.321" v="7195" actId="207"/>
          <ac:spMkLst>
            <pc:docMk/>
            <pc:sldMk cId="3700638566" sldId="646"/>
            <ac:spMk id="7" creationId="{4D1AE3B6-75A6-14E6-61E1-E48F3EB66E2B}"/>
          </ac:spMkLst>
        </pc:spChg>
        <pc:spChg chg="mod">
          <ac:chgData name="DENOUAL Yannick" userId="7ae1938d-f8f5-4af6-9418-c4b0dd201c41" providerId="ADAL" clId="{16C6779F-ACF6-4E48-A801-C1D6D2538B59}" dt="2025-08-29T10:09:54.192" v="7194" actId="207"/>
          <ac:spMkLst>
            <pc:docMk/>
            <pc:sldMk cId="3700638566" sldId="646"/>
            <ac:spMk id="9" creationId="{FA8219C1-9AEC-1E3D-27C6-C750CC0C8038}"/>
          </ac:spMkLst>
        </pc:spChg>
        <pc:graphicFrameChg chg="mod modGraphic">
          <ac:chgData name="DENOUAL Yannick" userId="7ae1938d-f8f5-4af6-9418-c4b0dd201c41" providerId="ADAL" clId="{16C6779F-ACF6-4E48-A801-C1D6D2538B59}" dt="2025-08-29T09:58:29.605" v="7136" actId="20577"/>
          <ac:graphicFrameMkLst>
            <pc:docMk/>
            <pc:sldMk cId="3700638566" sldId="646"/>
            <ac:graphicFrameMk id="10" creationId="{AD2BE137-BCF9-4494-DB9B-5CC3ABBD01A5}"/>
          </ac:graphicFrameMkLst>
        </pc:graphicFrameChg>
      </pc:sldChg>
      <pc:sldChg chg="addSp delSp modSp add mod">
        <pc:chgData name="DENOUAL Yannick" userId="7ae1938d-f8f5-4af6-9418-c4b0dd201c41" providerId="ADAL" clId="{16C6779F-ACF6-4E48-A801-C1D6D2538B59}" dt="2025-08-29T10:01:36.729" v="7146" actId="6549"/>
        <pc:sldMkLst>
          <pc:docMk/>
          <pc:sldMk cId="1347455613" sldId="647"/>
        </pc:sldMkLst>
        <pc:spChg chg="mod">
          <ac:chgData name="DENOUAL Yannick" userId="7ae1938d-f8f5-4af6-9418-c4b0dd201c41" providerId="ADAL" clId="{16C6779F-ACF6-4E48-A801-C1D6D2538B59}" dt="2025-08-27T09:52:28.649" v="5290" actId="20577"/>
          <ac:spMkLst>
            <pc:docMk/>
            <pc:sldMk cId="1347455613" sldId="647"/>
            <ac:spMk id="2" creationId="{600AA184-1AC7-FA05-0356-3C314E1BADBF}"/>
          </ac:spMkLst>
        </pc:spChg>
        <pc:spChg chg="mod">
          <ac:chgData name="DENOUAL Yannick" userId="7ae1938d-f8f5-4af6-9418-c4b0dd201c41" providerId="ADAL" clId="{16C6779F-ACF6-4E48-A801-C1D6D2538B59}" dt="2025-08-27T19:25:07.724" v="5694" actId="20577"/>
          <ac:spMkLst>
            <pc:docMk/>
            <pc:sldMk cId="1347455613" sldId="647"/>
            <ac:spMk id="3" creationId="{F07B4CD6-A6EB-E0AB-3686-DC451FB854BD}"/>
          </ac:spMkLst>
        </pc:spChg>
        <pc:spChg chg="add mod">
          <ac:chgData name="DENOUAL Yannick" userId="7ae1938d-f8f5-4af6-9418-c4b0dd201c41" providerId="ADAL" clId="{16C6779F-ACF6-4E48-A801-C1D6D2538B59}" dt="2025-08-27T20:02:46.709" v="6740" actId="207"/>
          <ac:spMkLst>
            <pc:docMk/>
            <pc:sldMk cId="1347455613" sldId="647"/>
            <ac:spMk id="6" creationId="{28999301-FCC2-592E-07BA-F3401D5CA19D}"/>
          </ac:spMkLst>
        </pc:spChg>
        <pc:spChg chg="add mod">
          <ac:chgData name="DENOUAL Yannick" userId="7ae1938d-f8f5-4af6-9418-c4b0dd201c41" providerId="ADAL" clId="{16C6779F-ACF6-4E48-A801-C1D6D2538B59}" dt="2025-08-27T20:02:46.709" v="6740" actId="207"/>
          <ac:spMkLst>
            <pc:docMk/>
            <pc:sldMk cId="1347455613" sldId="647"/>
            <ac:spMk id="7" creationId="{460711E8-94F3-1108-C51C-C9C131D5042F}"/>
          </ac:spMkLst>
        </pc:spChg>
        <pc:spChg chg="add mod">
          <ac:chgData name="DENOUAL Yannick" userId="7ae1938d-f8f5-4af6-9418-c4b0dd201c41" providerId="ADAL" clId="{16C6779F-ACF6-4E48-A801-C1D6D2538B59}" dt="2025-08-27T20:02:46.709" v="6740" actId="207"/>
          <ac:spMkLst>
            <pc:docMk/>
            <pc:sldMk cId="1347455613" sldId="647"/>
            <ac:spMk id="10" creationId="{21CF34B6-2DF3-512F-FAE8-5D87FB539DF3}"/>
          </ac:spMkLst>
        </pc:spChg>
        <pc:spChg chg="add mod">
          <ac:chgData name="DENOUAL Yannick" userId="7ae1938d-f8f5-4af6-9418-c4b0dd201c41" providerId="ADAL" clId="{16C6779F-ACF6-4E48-A801-C1D6D2538B59}" dt="2025-08-29T10:01:36.729" v="7146" actId="6549"/>
          <ac:spMkLst>
            <pc:docMk/>
            <pc:sldMk cId="1347455613" sldId="647"/>
            <ac:spMk id="12" creationId="{99FC8C27-45EC-649E-2C42-B4531A9D9633}"/>
          </ac:spMkLst>
        </pc:spChg>
        <pc:spChg chg="add">
          <ac:chgData name="DENOUAL Yannick" userId="7ae1938d-f8f5-4af6-9418-c4b0dd201c41" providerId="ADAL" clId="{16C6779F-ACF6-4E48-A801-C1D6D2538B59}" dt="2025-08-27T20:10:13.370" v="6940" actId="11529"/>
          <ac:spMkLst>
            <pc:docMk/>
            <pc:sldMk cId="1347455613" sldId="647"/>
            <ac:spMk id="19" creationId="{603A2984-7D2E-5B1A-4A85-90103184B4FE}"/>
          </ac:spMkLst>
        </pc:spChg>
        <pc:picChg chg="add mod">
          <ac:chgData name="DENOUAL Yannick" userId="7ae1938d-f8f5-4af6-9418-c4b0dd201c41" providerId="ADAL" clId="{16C6779F-ACF6-4E48-A801-C1D6D2538B59}" dt="2025-08-27T20:10:02.973" v="6939" actId="1440"/>
          <ac:picMkLst>
            <pc:docMk/>
            <pc:sldMk cId="1347455613" sldId="647"/>
            <ac:picMk id="18" creationId="{5245734F-D6C9-6BDF-D60E-24483CEA3A96}"/>
          </ac:picMkLst>
        </pc:picChg>
      </pc:sldChg>
      <pc:sldChg chg="modSp add mod">
        <pc:chgData name="DENOUAL Yannick" userId="7ae1938d-f8f5-4af6-9418-c4b0dd201c41" providerId="ADAL" clId="{16C6779F-ACF6-4E48-A801-C1D6D2538B59}" dt="2025-08-27T10:05:41.709" v="5689" actId="20577"/>
        <pc:sldMkLst>
          <pc:docMk/>
          <pc:sldMk cId="2552490269" sldId="648"/>
        </pc:sldMkLst>
        <pc:spChg chg="mod">
          <ac:chgData name="DENOUAL Yannick" userId="7ae1938d-f8f5-4af6-9418-c4b0dd201c41" providerId="ADAL" clId="{16C6779F-ACF6-4E48-A801-C1D6D2538B59}" dt="2025-08-27T09:59:47.220" v="5557" actId="20577"/>
          <ac:spMkLst>
            <pc:docMk/>
            <pc:sldMk cId="2552490269" sldId="648"/>
            <ac:spMk id="2" creationId="{D54188FF-2E69-8209-F166-73B84C4F1E50}"/>
          </ac:spMkLst>
        </pc:spChg>
        <pc:spChg chg="mod">
          <ac:chgData name="DENOUAL Yannick" userId="7ae1938d-f8f5-4af6-9418-c4b0dd201c41" providerId="ADAL" clId="{16C6779F-ACF6-4E48-A801-C1D6D2538B59}" dt="2025-08-27T10:00:23.036" v="5574" actId="20577"/>
          <ac:spMkLst>
            <pc:docMk/>
            <pc:sldMk cId="2552490269" sldId="648"/>
            <ac:spMk id="3" creationId="{33A4B6AF-EFEF-DB2C-FB87-232461F687E2}"/>
          </ac:spMkLst>
        </pc:spChg>
        <pc:spChg chg="mod">
          <ac:chgData name="DENOUAL Yannick" userId="7ae1938d-f8f5-4af6-9418-c4b0dd201c41" providerId="ADAL" clId="{16C6779F-ACF6-4E48-A801-C1D6D2538B59}" dt="2025-08-27T10:05:41.709" v="5689" actId="20577"/>
          <ac:spMkLst>
            <pc:docMk/>
            <pc:sldMk cId="2552490269" sldId="648"/>
            <ac:spMk id="11" creationId="{C581C242-A270-BB4D-4F28-BDAF7676ECB8}"/>
          </ac:spMkLst>
        </pc:spChg>
      </pc:sldChg>
      <pc:sldMasterChg chg="modSp mod">
        <pc:chgData name="DENOUAL Yannick" userId="7ae1938d-f8f5-4af6-9418-c4b0dd201c41" providerId="ADAL" clId="{16C6779F-ACF6-4E48-A801-C1D6D2538B59}" dt="2025-08-27T08:44:34.456" v="3543" actId="6013"/>
        <pc:sldMasterMkLst>
          <pc:docMk/>
          <pc:sldMasterMk cId="3299918406" sldId="2147483648"/>
        </pc:sldMasterMkLst>
        <pc:spChg chg="mod">
          <ac:chgData name="DENOUAL Yannick" userId="7ae1938d-f8f5-4af6-9418-c4b0dd201c41" providerId="ADAL" clId="{16C6779F-ACF6-4E48-A801-C1D6D2538B59}" dt="2025-08-26T16:35:30.552" v="2203" actId="20577"/>
          <ac:spMkLst>
            <pc:docMk/>
            <pc:sldMasterMk cId="3299918406" sldId="2147483648"/>
            <ac:spMk id="4" creationId="{4EA4DB8D-25B7-49E5-B7FF-83E0530F4390}"/>
          </ac:spMkLst>
        </pc:spChg>
      </pc:sldMasterChg>
      <pc:sldMasterChg chg="new del mod addSldLayout delSldLayout">
        <pc:chgData name="DENOUAL Yannick" userId="7ae1938d-f8f5-4af6-9418-c4b0dd201c41" providerId="ADAL" clId="{16C6779F-ACF6-4E48-A801-C1D6D2538B59}" dt="2025-08-27T08:44:21.250" v="3542" actId="6938"/>
        <pc:sldMasterMkLst>
          <pc:docMk/>
          <pc:sldMasterMk cId="836748450" sldId="2147483660"/>
        </pc:sldMasterMkLst>
        <pc:sldLayoutChg chg="new del replId">
          <pc:chgData name="DENOUAL Yannick" userId="7ae1938d-f8f5-4af6-9418-c4b0dd201c41" providerId="ADAL" clId="{16C6779F-ACF6-4E48-A801-C1D6D2538B59}" dt="2025-08-27T08:44:21.250" v="3542" actId="6938"/>
          <pc:sldLayoutMkLst>
            <pc:docMk/>
            <pc:sldMasterMk cId="836748450" sldId="2147483660"/>
            <pc:sldLayoutMk cId="3870574943" sldId="2147483661"/>
          </pc:sldLayoutMkLst>
        </pc:sldLayoutChg>
        <pc:sldLayoutChg chg="new del replId">
          <pc:chgData name="DENOUAL Yannick" userId="7ae1938d-f8f5-4af6-9418-c4b0dd201c41" providerId="ADAL" clId="{16C6779F-ACF6-4E48-A801-C1D6D2538B59}" dt="2025-08-27T08:44:21.250" v="3542" actId="6938"/>
          <pc:sldLayoutMkLst>
            <pc:docMk/>
            <pc:sldMasterMk cId="836748450" sldId="2147483660"/>
            <pc:sldLayoutMk cId="1446988844" sldId="2147483662"/>
          </pc:sldLayoutMkLst>
        </pc:sldLayoutChg>
        <pc:sldLayoutChg chg="new del replId">
          <pc:chgData name="DENOUAL Yannick" userId="7ae1938d-f8f5-4af6-9418-c4b0dd201c41" providerId="ADAL" clId="{16C6779F-ACF6-4E48-A801-C1D6D2538B59}" dt="2025-08-27T08:44:21.250" v="3542" actId="6938"/>
          <pc:sldLayoutMkLst>
            <pc:docMk/>
            <pc:sldMasterMk cId="836748450" sldId="2147483660"/>
            <pc:sldLayoutMk cId="1854420558" sldId="2147483663"/>
          </pc:sldLayoutMkLst>
        </pc:sldLayoutChg>
        <pc:sldLayoutChg chg="new del replId">
          <pc:chgData name="DENOUAL Yannick" userId="7ae1938d-f8f5-4af6-9418-c4b0dd201c41" providerId="ADAL" clId="{16C6779F-ACF6-4E48-A801-C1D6D2538B59}" dt="2025-08-27T08:44:21.250" v="3542" actId="6938"/>
          <pc:sldLayoutMkLst>
            <pc:docMk/>
            <pc:sldMasterMk cId="836748450" sldId="2147483660"/>
            <pc:sldLayoutMk cId="3167302374" sldId="2147483664"/>
          </pc:sldLayoutMkLst>
        </pc:sldLayoutChg>
        <pc:sldLayoutChg chg="new del replId">
          <pc:chgData name="DENOUAL Yannick" userId="7ae1938d-f8f5-4af6-9418-c4b0dd201c41" providerId="ADAL" clId="{16C6779F-ACF6-4E48-A801-C1D6D2538B59}" dt="2025-08-27T08:44:21.250" v="3542" actId="6938"/>
          <pc:sldLayoutMkLst>
            <pc:docMk/>
            <pc:sldMasterMk cId="836748450" sldId="2147483660"/>
            <pc:sldLayoutMk cId="667367327" sldId="2147483665"/>
          </pc:sldLayoutMkLst>
        </pc:sldLayoutChg>
        <pc:sldLayoutChg chg="new del replId">
          <pc:chgData name="DENOUAL Yannick" userId="7ae1938d-f8f5-4af6-9418-c4b0dd201c41" providerId="ADAL" clId="{16C6779F-ACF6-4E48-A801-C1D6D2538B59}" dt="2025-08-27T08:44:21.250" v="3542" actId="6938"/>
          <pc:sldLayoutMkLst>
            <pc:docMk/>
            <pc:sldMasterMk cId="836748450" sldId="2147483660"/>
            <pc:sldLayoutMk cId="1587128775" sldId="2147483666"/>
          </pc:sldLayoutMkLst>
        </pc:sldLayoutChg>
        <pc:sldLayoutChg chg="new del replId">
          <pc:chgData name="DENOUAL Yannick" userId="7ae1938d-f8f5-4af6-9418-c4b0dd201c41" providerId="ADAL" clId="{16C6779F-ACF6-4E48-A801-C1D6D2538B59}" dt="2025-08-27T08:44:21.250" v="3542" actId="6938"/>
          <pc:sldLayoutMkLst>
            <pc:docMk/>
            <pc:sldMasterMk cId="836748450" sldId="2147483660"/>
            <pc:sldLayoutMk cId="359596905" sldId="2147483667"/>
          </pc:sldLayoutMkLst>
        </pc:sldLayoutChg>
        <pc:sldLayoutChg chg="new del replId">
          <pc:chgData name="DENOUAL Yannick" userId="7ae1938d-f8f5-4af6-9418-c4b0dd201c41" providerId="ADAL" clId="{16C6779F-ACF6-4E48-A801-C1D6D2538B59}" dt="2025-08-27T08:44:21.250" v="3542" actId="6938"/>
          <pc:sldLayoutMkLst>
            <pc:docMk/>
            <pc:sldMasterMk cId="836748450" sldId="2147483660"/>
            <pc:sldLayoutMk cId="1923196455" sldId="2147483668"/>
          </pc:sldLayoutMkLst>
        </pc:sldLayoutChg>
        <pc:sldLayoutChg chg="new del replId">
          <pc:chgData name="DENOUAL Yannick" userId="7ae1938d-f8f5-4af6-9418-c4b0dd201c41" providerId="ADAL" clId="{16C6779F-ACF6-4E48-A801-C1D6D2538B59}" dt="2025-08-27T08:44:21.250" v="3542" actId="6938"/>
          <pc:sldLayoutMkLst>
            <pc:docMk/>
            <pc:sldMasterMk cId="836748450" sldId="2147483660"/>
            <pc:sldLayoutMk cId="959682519" sldId="2147483669"/>
          </pc:sldLayoutMkLst>
        </pc:sldLayoutChg>
        <pc:sldLayoutChg chg="new del replId">
          <pc:chgData name="DENOUAL Yannick" userId="7ae1938d-f8f5-4af6-9418-c4b0dd201c41" providerId="ADAL" clId="{16C6779F-ACF6-4E48-A801-C1D6D2538B59}" dt="2025-08-27T08:44:21.250" v="3542" actId="6938"/>
          <pc:sldLayoutMkLst>
            <pc:docMk/>
            <pc:sldMasterMk cId="836748450" sldId="2147483660"/>
            <pc:sldLayoutMk cId="4037336368" sldId="2147483670"/>
          </pc:sldLayoutMkLst>
        </pc:sldLayoutChg>
        <pc:sldLayoutChg chg="new del replId">
          <pc:chgData name="DENOUAL Yannick" userId="7ae1938d-f8f5-4af6-9418-c4b0dd201c41" providerId="ADAL" clId="{16C6779F-ACF6-4E48-A801-C1D6D2538B59}" dt="2025-08-27T08:44:21.250" v="3542" actId="6938"/>
          <pc:sldLayoutMkLst>
            <pc:docMk/>
            <pc:sldMasterMk cId="836748450" sldId="2147483660"/>
            <pc:sldLayoutMk cId="1816144408" sldId="2147483671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B3ED2D-D42F-4B93-B650-26CC799E01CE}" type="datetimeFigureOut">
              <a:rPr lang="sv-SE" smtClean="0"/>
              <a:t>2025-08-31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8481F3-3343-4D9C-8634-45E1E7B344D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54174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ank you, Mr. President. Good morning, everyone.</a:t>
            </a:r>
          </a:p>
          <a:p>
            <a:r>
              <a:rPr lang="en-GB" dirty="0"/>
              <a:t>I am pleased to present the status report on the activities conducted within the framework of the Task Force on Vehicle Sound since the last GRBP meeting in September.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481F3-3343-4D9C-8634-45E1E7B344D1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39873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CB70D-A39C-4C76-A438-4B53D8C96F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562F21-6CF2-40D0-8EB8-DFEB9D3571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7C0B69-121C-4AF3-A136-063A3A044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2FF27A-6240-49CE-83E8-931F92D6B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65679-2400-47D9-8B9C-7520953E9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2083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5A5F47-39B1-4C72-B165-2D7431BE9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5A6374-4C1C-4BEE-BFF7-353EC02BCA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C40D8-911F-4A93-9361-6F32D3080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5C8629-6B84-476F-B926-DF6D04FBE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601A4-58B2-4E65-A754-94DAC5FF6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4181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F7DE1D5-5C61-4CE1-A17D-1249E36390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32CE30-2BBA-4DF6-BF49-217954B4A8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999059-2D82-4328-88D4-DA2AB9036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49680-5972-4ADA-B095-092724990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DCEE30-1D3C-46AE-A908-8856AB7BC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56397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97696-9543-4A3A-B7D9-000D2E83C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8788D-5574-43F5-9F6C-987CFE6639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43F4B-5A56-4C7F-96A6-2B1E6A5EC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8DE35-7008-4358-A06A-D9624B70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DB03E-9ADE-42C7-8B9C-4C09A3266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9413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5B7BE-6E2B-4E1D-A2F7-23FB298A0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7F01D1-E2BB-43FF-9B38-171F98713D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7165D2-DD4D-4A97-9AB1-BAE37B019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12D925-19F1-4025-8D19-130D671E7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784A33-8D6F-4163-8A99-8B877C086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7306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740DB-BA4D-4162-B85C-85C6DA55D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411E80-829D-451C-8BB1-16AACA9991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DBA9A3-B577-4234-BF30-385835ABDD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F6EEBE-326C-4B08-A8D6-A1989A13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CA11EC-18F4-4535-A537-4039B597B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D68B72-99C7-4603-99B8-B75F162B1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2789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ADA4-C8A8-479F-A791-59D90A439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B4130F-CE19-46B0-9E1B-7CF3FF3EF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913648-48EA-4E94-BC61-C536EF3B41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4FC35C-F78F-48EA-97E5-DF2C8997F7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CC18F0-0D56-44A5-832D-7B0F6BD7F5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6E2B4F-A7B9-4DF0-A57E-A6C385F67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136CFE-1A00-4632-97B2-BD07F67E5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3264AC-8820-404E-B12E-3E060F0F2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0817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D8334-B522-4F7C-88E0-1F8517BB3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A66A47-6DC4-4241-80E6-84493F07A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B670F2-E3A0-4EB0-ADC5-8395100BD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FF0FAA-8058-4F59-A716-10178AACE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51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62BD31-CDB5-46C8-A478-2F02B13B0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0865E7-05B0-406D-AF05-2CE413A0C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487D15-63F9-4488-8842-AC430B751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0494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E648A-4419-4F69-B88E-ADBF5F30F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C44B20-25BE-4AF5-A8A8-BCB7E5A5F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A8423F-8552-4CE2-87E9-5E0F2C300F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43C782-29F3-4A70-89B7-1DC794298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4493-8645-4228-A6BE-837D6999C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32DD1-2AEC-4081-9AFB-7AE43071F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3055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ED793-E951-4CEB-A461-F9BD234E7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5D0399-7B58-483D-A217-B2FBFD7993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C158AC-7B22-4B84-BEB8-A101AFDCD4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7A437D-6B6C-46C1-88C4-214A27140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1C463F-6373-41D5-8ABC-CFC4CE9C8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D0C45-6B4F-43C8-816D-865BE785A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8094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BA45714-C7CA-4F4C-A785-ACEBD6571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3935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00" imgH="396" progId="TCLayout.ActiveDocument.1">
                  <p:embed/>
                </p:oleObj>
              </mc:Choice>
              <mc:Fallback>
                <p:oleObj name="think-cell Folie" r:id="rId14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BA45714-C7CA-4F4C-A785-ACEBD6571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CE731D-847D-4A65-9DC6-317058EA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6B6B95-938C-4D59-B086-BB193DF4C9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A4DB8D-25B7-49E5-B7FF-83E0530F4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b-NO" dirty="0"/>
              <a:t>3-5 September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B31C3C-2AAF-42C9-AB3E-1234F99DB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ask Force Vehicle Sound - GRBP Status Report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ED5C54-F4F3-408F-AC93-685674D947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9918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yannick.denoual@renault.com" TargetMode="External"/><Relationship Id="rId2" Type="http://schemas.openxmlformats.org/officeDocument/2006/relationships/hyperlink" Target="mailto:serge.ficheux@utac.co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iki.unece.org/download/attachments/198673202/2023_06_20%20TF-VS_REPORT%20OF%2011%20SESSIONS.pdf?api=v2" TargetMode="External"/><Relationship Id="rId5" Type="http://schemas.openxmlformats.org/officeDocument/2006/relationships/hyperlink" Target="https://wiki.unece.org/download/attachments/160694385/GRBP-74-03e-Rev.1.pdf?api=v2" TargetMode="External"/><Relationship Id="rId4" Type="http://schemas.openxmlformats.org/officeDocument/2006/relationships/hyperlink" Target="https://wiki.unece.org/pages/viewpage.action?pageId=123666863&amp;src=contextnavpagetreemod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mailto:https://wiki.unece.org/pages/viewpage.action?pageId=310575187&amp;src=contextnavpagetreemode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iki.unece.org/download/attachments/198673202/2023_06_20%20TF-VS_REPORT%20OF%2011%20SESSIONS.pdf?api=v2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iki.unece.org/download/attachments/277381240/TFVS-17-07%20-%20%28HMG%29%20Crossmatrix%20Considerations%20-%20Using%20RTN%20Models.pdf?api=v2" TargetMode="Externa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2481ED-B8BA-4D76-A346-93BF1D6177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178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2481ED-B8BA-4D76-A346-93BF1D617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noProof="0" dirty="0">
                <a:latin typeface="+mn-lt"/>
              </a:rPr>
              <a:t>Status report to the 82</a:t>
            </a:r>
            <a:r>
              <a:rPr lang="en-GB" sz="4000" b="1" baseline="30000" noProof="0" dirty="0">
                <a:latin typeface="+mn-lt"/>
              </a:rPr>
              <a:t>nd</a:t>
            </a:r>
            <a:r>
              <a:rPr lang="en-GB" sz="4000" b="1" noProof="0" dirty="0">
                <a:latin typeface="+mn-lt"/>
              </a:rPr>
              <a:t> session of GRBP</a:t>
            </a:r>
            <a:br>
              <a:rPr lang="en-GB" sz="4000" b="1" noProof="0" dirty="0">
                <a:latin typeface="+mn-lt"/>
              </a:rPr>
            </a:br>
            <a:r>
              <a:rPr lang="en-GB" sz="4000" b="1" noProof="0" dirty="0">
                <a:latin typeface="+mn-lt"/>
              </a:rPr>
              <a:t>(September 2025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sz="2800" noProof="0" dirty="0"/>
              <a:t>Task Force Vehicles’ Sound</a:t>
            </a:r>
          </a:p>
          <a:p>
            <a:r>
              <a:rPr lang="en-GB" sz="2800" noProof="0" dirty="0"/>
              <a:t>(TF-VS)</a:t>
            </a:r>
          </a:p>
          <a:p>
            <a:r>
              <a:rPr lang="en-GB" sz="2000" i="1" noProof="0" dirty="0"/>
              <a:t>NB: the previous name of this TF was TF-SL for Sound Lim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7312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noProof="0" dirty="0"/>
              <a:t>Transmitted by the chair of the TF-SL (Sound Limits)/VS (Vehicles’ Sound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8857108" y="283566"/>
            <a:ext cx="318837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noProof="0" dirty="0"/>
              <a:t>Informal Document GRBP-82-20</a:t>
            </a:r>
          </a:p>
          <a:p>
            <a:pPr algn="r"/>
            <a:r>
              <a:rPr lang="en-GB" noProof="0" dirty="0"/>
              <a:t>82</a:t>
            </a:r>
            <a:r>
              <a:rPr lang="en-GB" baseline="30000" noProof="0" dirty="0"/>
              <a:t>nd</a:t>
            </a:r>
            <a:r>
              <a:rPr lang="en-GB" noProof="0" dirty="0"/>
              <a:t> GRBP, 3-5 September 2025</a:t>
            </a:r>
          </a:p>
          <a:p>
            <a:pPr algn="r"/>
            <a:r>
              <a:rPr lang="en-GB" noProof="0" dirty="0"/>
              <a:t>Agenda item 7</a:t>
            </a:r>
          </a:p>
        </p:txBody>
      </p:sp>
    </p:spTree>
    <p:extLst>
      <p:ext uri="{BB962C8B-B14F-4D97-AF65-F5344CB8AC3E}">
        <p14:creationId xmlns:p14="http://schemas.microsoft.com/office/powerpoint/2010/main" val="1800087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0BF722-E066-49B9-A779-3CDCF613DA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5426"/>
            <a:ext cx="10515600" cy="919538"/>
          </a:xfrm>
        </p:spPr>
        <p:txBody>
          <a:bodyPr/>
          <a:lstStyle/>
          <a:p>
            <a:pPr algn="ctr"/>
            <a:r>
              <a:rPr lang="en-GB" noProof="0" dirty="0"/>
              <a:t>Task Force on Vehicles’ Sound</a:t>
            </a:r>
          </a:p>
        </p:txBody>
      </p:sp>
      <p:graphicFrame>
        <p:nvGraphicFramePr>
          <p:cNvPr id="10" name="Tableau 10">
            <a:extLst>
              <a:ext uri="{FF2B5EF4-FFF2-40B4-BE49-F238E27FC236}">
                <a16:creationId xmlns:a16="http://schemas.microsoft.com/office/drawing/2014/main" id="{C8594C73-26ED-49AC-BB15-8A214F05484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3881636"/>
              </p:ext>
            </p:extLst>
          </p:nvPr>
        </p:nvGraphicFramePr>
        <p:xfrm>
          <a:off x="508861" y="1332219"/>
          <a:ext cx="11174277" cy="46687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60820">
                  <a:extLst>
                    <a:ext uri="{9D8B030D-6E8A-4147-A177-3AD203B41FA5}">
                      <a16:colId xmlns:a16="http://schemas.microsoft.com/office/drawing/2014/main" val="1695131126"/>
                    </a:ext>
                  </a:extLst>
                </a:gridCol>
                <a:gridCol w="9413457">
                  <a:extLst>
                    <a:ext uri="{9D8B030D-6E8A-4147-A177-3AD203B41FA5}">
                      <a16:colId xmlns:a16="http://schemas.microsoft.com/office/drawing/2014/main" val="427866157"/>
                    </a:ext>
                  </a:extLst>
                </a:gridCol>
              </a:tblGrid>
              <a:tr h="2089324">
                <a:tc>
                  <a:txBody>
                    <a:bodyPr/>
                    <a:lstStyle/>
                    <a:p>
                      <a:pPr algn="ctr"/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Targe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ide a forum for discussions on Road Traffic Noise control</a:t>
                      </a: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ke a holistic review of studies available</a:t>
                      </a: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view information on new initiatives on Road Traffic Noise control</a:t>
                      </a: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GB" noProof="0" dirty="0">
                          <a:solidFill>
                            <a:schemeClr val="tx1"/>
                          </a:solidFill>
                        </a:rPr>
                        <a:t>Provide a technical report to contribute to any work on future sound emissi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808323784"/>
                  </a:ext>
                </a:extLst>
              </a:tr>
              <a:tr h="137664">
                <a:tc>
                  <a:txBody>
                    <a:bodyPr/>
                    <a:lstStyle/>
                    <a:p>
                      <a:pPr algn="ctr"/>
                      <a:endParaRPr lang="en-GB" sz="200" b="1" noProof="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00" noProof="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2218748"/>
                  </a:ext>
                </a:extLst>
              </a:tr>
              <a:tr h="611917">
                <a:tc>
                  <a:txBody>
                    <a:bodyPr/>
                    <a:lstStyle/>
                    <a:p>
                      <a:pPr algn="ctr"/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Rol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noProof="0" dirty="0">
                          <a:solidFill>
                            <a:schemeClr val="tx1"/>
                          </a:solidFill>
                        </a:rPr>
                        <a:t>Chair: 		France (</a:t>
                      </a:r>
                      <a:r>
                        <a:rPr lang="en-GB" noProof="0" dirty="0">
                          <a:solidFill>
                            <a:schemeClr val="tx1"/>
                          </a:solidFill>
                          <a:hlinkClick r:id="rId2"/>
                        </a:rPr>
                        <a:t>serge.ficheux@utac.com</a:t>
                      </a:r>
                      <a:r>
                        <a:rPr lang="en-GB" noProof="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noProof="0" dirty="0">
                          <a:solidFill>
                            <a:schemeClr val="tx1"/>
                          </a:solidFill>
                        </a:rPr>
                        <a:t>Secretariat:	OICA (</a:t>
                      </a:r>
                      <a:r>
                        <a:rPr lang="en-GB" noProof="0" dirty="0">
                          <a:solidFill>
                            <a:schemeClr val="tx1"/>
                          </a:solidFill>
                          <a:hlinkClick r:id="rId3"/>
                        </a:rPr>
                        <a:t>yannick.denoual@renault.com</a:t>
                      </a:r>
                      <a:r>
                        <a:rPr lang="en-GB" sz="1800" b="0" i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GB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814286836"/>
                  </a:ext>
                </a:extLst>
              </a:tr>
              <a:tr h="137664">
                <a:tc>
                  <a:txBody>
                    <a:bodyPr/>
                    <a:lstStyle/>
                    <a:p>
                      <a:pPr algn="ctr"/>
                      <a:endParaRPr lang="en-GB" sz="200" b="1" noProof="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00" noProof="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135499"/>
                  </a:ext>
                </a:extLst>
              </a:tr>
              <a:tr h="611917">
                <a:tc>
                  <a:txBody>
                    <a:bodyPr/>
                    <a:lstStyle/>
                    <a:p>
                      <a:pPr algn="ctr"/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Report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noProof="0" dirty="0">
                          <a:solidFill>
                            <a:schemeClr val="tx1"/>
                          </a:solidFill>
                        </a:rPr>
                        <a:t>To GRB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4571535"/>
                  </a:ext>
                </a:extLst>
              </a:tr>
              <a:tr h="137664">
                <a:tc>
                  <a:txBody>
                    <a:bodyPr/>
                    <a:lstStyle/>
                    <a:p>
                      <a:pPr algn="ctr"/>
                      <a:endParaRPr lang="en-GB" sz="200" b="1" noProof="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00" noProof="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409865"/>
                  </a:ext>
                </a:extLst>
              </a:tr>
              <a:tr h="611917">
                <a:tc>
                  <a:txBody>
                    <a:bodyPr/>
                    <a:lstStyle/>
                    <a:p>
                      <a:pPr algn="ctr"/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Docume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ECE Wiki page: </a:t>
                      </a: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Task Force on Vehicle Sound </a:t>
                      </a: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merly TF on Sound Limits TF-SL)</a:t>
                      </a: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F-VS Guidelines: </a:t>
                      </a: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GRBP-74-03e-Rev.1</a:t>
                      </a:r>
                      <a:endParaRPr lang="en-GB" sz="18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F-VS Synthesis Report: </a:t>
                      </a:r>
                      <a:r>
                        <a:rPr lang="en-GB" sz="1800" noProof="0" dirty="0">
                          <a:hlinkClick r:id="rId6"/>
                        </a:rPr>
                        <a:t>2023_06_20 TF-VS Report on 11 Sessions</a:t>
                      </a:r>
                      <a:endParaRPr lang="en-GB" sz="18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104175066"/>
                  </a:ext>
                </a:extLst>
              </a:tr>
            </a:tbl>
          </a:graphicData>
        </a:graphic>
      </p:graphicFrame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148C6546-737F-40DA-917A-ED6C9FFAF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5D37-6DEC-499C-8062-DD8488EC10D3}" type="slidenum">
              <a:rPr lang="en-GB" noProof="0" smtClean="0"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85079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8CAE050-DC66-4CB1-9731-D0C28A1201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960" y="254490"/>
            <a:ext cx="11038840" cy="1325563"/>
          </a:xfrm>
        </p:spPr>
        <p:txBody>
          <a:bodyPr/>
          <a:lstStyle/>
          <a:p>
            <a:pPr algn="ctr"/>
            <a:r>
              <a:rPr lang="en-GB" noProof="0" dirty="0"/>
              <a:t>Task Force on Vehicles’ Sound: facts and figures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57D7C7A9-48CE-448F-9DB6-ABD4EEF7C8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00659" y="3117109"/>
            <a:ext cx="5765800" cy="2990793"/>
          </a:xfrm>
        </p:spPr>
        <p:txBody>
          <a:bodyPr>
            <a:noAutofit/>
          </a:bodyPr>
          <a:lstStyle/>
          <a:p>
            <a:pPr marL="263525" lvl="1" indent="-173038">
              <a:lnSpc>
                <a:spcPct val="120000"/>
              </a:lnSpc>
              <a:spcAft>
                <a:spcPts val="900"/>
              </a:spcAft>
            </a:pPr>
            <a:r>
              <a:rPr lang="en-GB" sz="2000" noProof="0" dirty="0"/>
              <a:t>18</a:t>
            </a:r>
            <a:r>
              <a:rPr lang="en-GB" sz="2000" baseline="30000" noProof="0" dirty="0"/>
              <a:t>th</a:t>
            </a:r>
            <a:r>
              <a:rPr lang="en-GB" sz="2000" noProof="0" dirty="0"/>
              <a:t> online meeting: 9</a:t>
            </a:r>
            <a:r>
              <a:rPr lang="en-GB" sz="2000" baseline="30000" noProof="0" dirty="0"/>
              <a:t>th</a:t>
            </a:r>
            <a:r>
              <a:rPr lang="en-GB" sz="2000" noProof="0" dirty="0"/>
              <a:t> July 2025 – </a:t>
            </a:r>
            <a:r>
              <a:rPr lang="en-GB" sz="2000" noProof="0" dirty="0">
                <a:hlinkClick r:id="rId2"/>
              </a:rPr>
              <a:t>TFVS-18</a:t>
            </a:r>
            <a:endParaRPr lang="en-GB" sz="2000" noProof="0" dirty="0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83501727-A4F3-4312-989C-C75C01114E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66459" y="3031808"/>
            <a:ext cx="5932283" cy="3602576"/>
          </a:xfrm>
        </p:spPr>
        <p:txBody>
          <a:bodyPr>
            <a:noAutofit/>
          </a:bodyPr>
          <a:lstStyle/>
          <a:p>
            <a:pPr marL="447675" lvl="1" indent="-35560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GB" sz="2000" noProof="0" dirty="0"/>
              <a:t>CPs: </a:t>
            </a:r>
            <a:br>
              <a:rPr lang="en-GB" sz="2000" noProof="0" dirty="0"/>
            </a:br>
            <a:r>
              <a:rPr lang="en-GB" sz="2000" noProof="0" dirty="0"/>
              <a:t>China, European Commission, France, Germany, India, Italy, Japan, Spain, Switzerland, The Netherlands, United Kingdom</a:t>
            </a:r>
          </a:p>
          <a:p>
            <a:pPr marL="447675" lvl="1" indent="-355600">
              <a:spcBef>
                <a:spcPts val="600"/>
              </a:spcBef>
              <a:spcAft>
                <a:spcPts val="300"/>
              </a:spcAft>
            </a:pPr>
            <a:r>
              <a:rPr lang="en-GB" sz="2000" noProof="0" dirty="0"/>
              <a:t>NGOs:</a:t>
            </a:r>
            <a:br>
              <a:rPr lang="en-GB" sz="2000" noProof="0" dirty="0"/>
            </a:br>
            <a:r>
              <a:rPr lang="en-GB" sz="2000" noProof="0" dirty="0"/>
              <a:t>CLEPA, ETRTO, EUWA, IMMA, ISO, OICA</a:t>
            </a:r>
          </a:p>
          <a:p>
            <a:pPr marL="447675" lvl="1" indent="-355600">
              <a:spcBef>
                <a:spcPts val="600"/>
              </a:spcBef>
              <a:spcAft>
                <a:spcPts val="300"/>
              </a:spcAft>
            </a:pPr>
            <a:r>
              <a:rPr lang="en-GB" sz="2000" noProof="0" dirty="0"/>
              <a:t>Guests:</a:t>
            </a:r>
            <a:br>
              <a:rPr lang="en-GB" sz="2000" noProof="0" dirty="0"/>
            </a:br>
            <a:r>
              <a:rPr lang="en-GB" sz="2000" noProof="0" dirty="0"/>
              <a:t>ICCT, RWTH Aachen University, …</a:t>
            </a:r>
          </a:p>
          <a:p>
            <a:pPr marL="447675" lvl="1" indent="-355600">
              <a:spcBef>
                <a:spcPts val="300"/>
              </a:spcBef>
              <a:spcAft>
                <a:spcPts val="300"/>
              </a:spcAft>
            </a:pPr>
            <a:endParaRPr lang="en-GB" sz="2000" noProof="0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90368D7-8BAB-4071-ACEA-B91617067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5D37-6DEC-499C-8062-DD8488EC10D3}" type="slidenum">
              <a:rPr lang="en-GB" noProof="0" smtClean="0"/>
              <a:t>3</a:t>
            </a:fld>
            <a:endParaRPr lang="en-GB" noProof="0" dirty="0"/>
          </a:p>
        </p:txBody>
      </p:sp>
      <p:pic>
        <p:nvPicPr>
          <p:cNvPr id="11" name="Graphique 10" descr="Utilisateurs avec un remplissage uni">
            <a:extLst>
              <a:ext uri="{FF2B5EF4-FFF2-40B4-BE49-F238E27FC236}">
                <a16:creationId xmlns:a16="http://schemas.microsoft.com/office/drawing/2014/main" id="{9064AD8F-1240-435E-BE58-D23C54EFF1C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85482" y="1904048"/>
            <a:ext cx="914400" cy="914400"/>
          </a:xfrm>
          <a:prstGeom prst="rect">
            <a:avLst/>
          </a:prstGeom>
        </p:spPr>
      </p:pic>
      <p:pic>
        <p:nvPicPr>
          <p:cNvPr id="13" name="Graphique 12" descr="Réunion en ligne avec un remplissage uni">
            <a:extLst>
              <a:ext uri="{FF2B5EF4-FFF2-40B4-BE49-F238E27FC236}">
                <a16:creationId xmlns:a16="http://schemas.microsoft.com/office/drawing/2014/main" id="{D8210448-BABE-4CD5-BBC3-7E4E7DA2BF65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92120" y="1893888"/>
            <a:ext cx="914400" cy="914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987A07-D61E-69E0-B1BB-69AE180EE404}"/>
              </a:ext>
            </a:extLst>
          </p:cNvPr>
          <p:cNvSpPr txBox="1"/>
          <p:nvPr/>
        </p:nvSpPr>
        <p:spPr>
          <a:xfrm>
            <a:off x="2727958" y="1517928"/>
            <a:ext cx="14681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b="1" noProof="0" dirty="0"/>
              <a:t>Meeting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EC0792-B346-15BF-716A-099AEA86F9AC}"/>
              </a:ext>
            </a:extLst>
          </p:cNvPr>
          <p:cNvSpPr txBox="1"/>
          <p:nvPr/>
        </p:nvSpPr>
        <p:spPr>
          <a:xfrm>
            <a:off x="7711442" y="1534701"/>
            <a:ext cx="2057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b="1" noProof="0" dirty="0"/>
              <a:t>Attendees </a:t>
            </a:r>
            <a:r>
              <a:rPr lang="en-GB" sz="2400" b="1" noProof="0" dirty="0">
                <a:solidFill>
                  <a:srgbClr val="0070C0"/>
                </a:solidFill>
              </a:rPr>
              <a:t>~35</a:t>
            </a:r>
            <a:endParaRPr lang="en-GB" sz="2400" b="1" noProof="0" dirty="0"/>
          </a:p>
        </p:txBody>
      </p:sp>
    </p:spTree>
    <p:extLst>
      <p:ext uri="{BB962C8B-B14F-4D97-AF65-F5344CB8AC3E}">
        <p14:creationId xmlns:p14="http://schemas.microsoft.com/office/powerpoint/2010/main" val="8773103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3BD974-7387-0EB4-5430-8CD662EDDE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9E9A4F1-7E42-FEB3-63F3-9C55EB07D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659" y="136526"/>
            <a:ext cx="10774681" cy="959084"/>
          </a:xfrm>
        </p:spPr>
        <p:txBody>
          <a:bodyPr/>
          <a:lstStyle/>
          <a:p>
            <a:r>
              <a:rPr lang="en-GB" noProof="0" dirty="0"/>
              <a:t>Task Force on Vehicles’ Sound: achievements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2448437-0628-62E6-ED1C-1AEF1C33C3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9740" y="1569639"/>
            <a:ext cx="5157289" cy="2241870"/>
          </a:xfrm>
        </p:spPr>
        <p:txBody>
          <a:bodyPr>
            <a:noAutofit/>
          </a:bodyPr>
          <a:lstStyle/>
          <a:p>
            <a:pPr marL="263525" lvl="1" indent="-173038">
              <a:lnSpc>
                <a:spcPct val="120000"/>
              </a:lnSpc>
              <a:spcAft>
                <a:spcPts val="900"/>
              </a:spcAft>
            </a:pPr>
            <a:r>
              <a:rPr lang="en-GB" sz="2000" noProof="0" dirty="0"/>
              <a:t>11 Sessions, 54 presentations</a:t>
            </a:r>
          </a:p>
          <a:p>
            <a:pPr marL="263525" lvl="1" indent="-173038">
              <a:lnSpc>
                <a:spcPct val="120000"/>
              </a:lnSpc>
              <a:spcAft>
                <a:spcPts val="900"/>
              </a:spcAft>
            </a:pPr>
            <a:r>
              <a:rPr lang="en-GB" sz="2000" noProof="0" dirty="0"/>
              <a:t>Five key “domains” of activity were identified</a:t>
            </a:r>
          </a:p>
          <a:p>
            <a:pPr marL="269875" lvl="2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GB" sz="1800" i="1" noProof="0" dirty="0"/>
              <a:t>General findings and recommendations were identified for each domai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2F1F644-5F55-8394-A8F7-3FA8D1EA9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5D37-6DEC-499C-8062-DD8488EC10D3}" type="slidenum">
              <a:rPr lang="en-GB" noProof="0" smtClean="0"/>
              <a:t>4</a:t>
            </a:fld>
            <a:endParaRPr lang="en-GB" noProof="0" dirty="0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07A925DF-29AA-6F73-9119-1A7B669DFD41}"/>
              </a:ext>
            </a:extLst>
          </p:cNvPr>
          <p:cNvSpPr txBox="1">
            <a:spLocks/>
          </p:cNvSpPr>
          <p:nvPr/>
        </p:nvSpPr>
        <p:spPr>
          <a:xfrm>
            <a:off x="200659" y="1011725"/>
            <a:ext cx="6399318" cy="5478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noProof="0" dirty="0">
                <a:latin typeface="+mn-lt"/>
              </a:rPr>
              <a:t>TF-VS synthesis report on the first 11 sessions</a:t>
            </a:r>
          </a:p>
        </p:txBody>
      </p:sp>
      <p:sp>
        <p:nvSpPr>
          <p:cNvPr id="14" name="Espace réservé du contenu 5">
            <a:extLst>
              <a:ext uri="{FF2B5EF4-FFF2-40B4-BE49-F238E27FC236}">
                <a16:creationId xmlns:a16="http://schemas.microsoft.com/office/drawing/2014/main" id="{7FBCA543-1453-7096-9EE3-E01EE5413242}"/>
              </a:ext>
            </a:extLst>
          </p:cNvPr>
          <p:cNvSpPr txBox="1">
            <a:spLocks/>
          </p:cNvSpPr>
          <p:nvPr/>
        </p:nvSpPr>
        <p:spPr>
          <a:xfrm>
            <a:off x="508477" y="6055586"/>
            <a:ext cx="6844446" cy="665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1" indent="-173038">
              <a:lnSpc>
                <a:spcPct val="120000"/>
              </a:lnSpc>
              <a:spcAft>
                <a:spcPts val="900"/>
              </a:spcAft>
            </a:pPr>
            <a:r>
              <a:rPr lang="en-GB" sz="2000" noProof="0" dirty="0"/>
              <a:t>Link to the report: </a:t>
            </a:r>
            <a:r>
              <a:rPr lang="en-GB" sz="2000" noProof="0" dirty="0">
                <a:hlinkClick r:id="rId2"/>
              </a:rPr>
              <a:t>2023_06_20 TF-VS Report on 11 Sessions</a:t>
            </a:r>
            <a:endParaRPr lang="en-GB" sz="2000" noProof="0" dirty="0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EEFF7B38-2BC6-B0A6-090D-C2A264EB299F}"/>
              </a:ext>
            </a:extLst>
          </p:cNvPr>
          <p:cNvSpPr/>
          <p:nvPr/>
        </p:nvSpPr>
        <p:spPr>
          <a:xfrm>
            <a:off x="6020261" y="5080339"/>
            <a:ext cx="5765800" cy="701015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b="1" noProof="0" dirty="0"/>
              <a:t>Driver</a:t>
            </a:r>
            <a:endParaRPr lang="en-GB" b="1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noProof="0" dirty="0"/>
              <a:t>Driving behaviour, manipulation, maintenance,..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E4BBC733-96F8-14B2-F4CD-1E408C790AEA}"/>
              </a:ext>
            </a:extLst>
          </p:cNvPr>
          <p:cNvSpPr/>
          <p:nvPr/>
        </p:nvSpPr>
        <p:spPr>
          <a:xfrm>
            <a:off x="6020261" y="2566965"/>
            <a:ext cx="5765800" cy="70101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b="1" noProof="0" dirty="0"/>
              <a:t>Enforcement</a:t>
            </a:r>
            <a:endParaRPr lang="en-GB" b="1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gulation &amp; type Approval, PTI, Road-side inspection</a:t>
            </a:r>
            <a:endParaRPr lang="en-GB" noProof="0" dirty="0"/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DE5BC283-08B5-0C05-AA18-E0DA0294B81A}"/>
              </a:ext>
            </a:extLst>
          </p:cNvPr>
          <p:cNvSpPr/>
          <p:nvPr/>
        </p:nvSpPr>
        <p:spPr>
          <a:xfrm>
            <a:off x="6020261" y="1729174"/>
            <a:ext cx="5790168" cy="7010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b="1" noProof="0" dirty="0"/>
              <a:t>Immission (sound at receiver poi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ound mapping, traffic flow, abatement measures </a:t>
            </a:r>
            <a:endParaRPr lang="en-GB" noProof="0" dirty="0"/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0E68140A-A646-2A37-2EAF-5F1D0BD562F3}"/>
              </a:ext>
            </a:extLst>
          </p:cNvPr>
          <p:cNvSpPr/>
          <p:nvPr/>
        </p:nvSpPr>
        <p:spPr>
          <a:xfrm>
            <a:off x="6020261" y="3404756"/>
            <a:ext cx="5790168" cy="7010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b="1" noProof="0" dirty="0"/>
              <a:t>Tyres / Ro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yre sound level &amp; labelling, road surface monitoring</a:t>
            </a:r>
            <a:endParaRPr lang="en-GB" noProof="0" dirty="0"/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81841097-5753-8369-9E29-D619BC6D8DC2}"/>
              </a:ext>
            </a:extLst>
          </p:cNvPr>
          <p:cNvSpPr/>
          <p:nvPr/>
        </p:nvSpPr>
        <p:spPr>
          <a:xfrm>
            <a:off x="6020261" y="4242547"/>
            <a:ext cx="5790168" cy="7010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b="1" noProof="0" dirty="0"/>
              <a:t>Vehicle</a:t>
            </a:r>
            <a:endParaRPr lang="en-GB" b="1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Vehicle sound emission, evolution over lifetim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16732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6339E3-EDE2-AE29-A25C-7289372802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22D8D8C4-F65F-3E11-6207-7DE6474847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680030"/>
              </p:ext>
            </p:extLst>
          </p:nvPr>
        </p:nvGraphicFramePr>
        <p:xfrm>
          <a:off x="349682" y="1506220"/>
          <a:ext cx="11492636" cy="3664805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516441">
                  <a:extLst>
                    <a:ext uri="{9D8B030D-6E8A-4147-A177-3AD203B41FA5}">
                      <a16:colId xmlns:a16="http://schemas.microsoft.com/office/drawing/2014/main" val="569701041"/>
                    </a:ext>
                  </a:extLst>
                </a:gridCol>
                <a:gridCol w="8659086">
                  <a:extLst>
                    <a:ext uri="{9D8B030D-6E8A-4147-A177-3AD203B41FA5}">
                      <a16:colId xmlns:a16="http://schemas.microsoft.com/office/drawing/2014/main" val="3675810666"/>
                    </a:ext>
                  </a:extLst>
                </a:gridCol>
                <a:gridCol w="1317109">
                  <a:extLst>
                    <a:ext uri="{9D8B030D-6E8A-4147-A177-3AD203B41FA5}">
                      <a16:colId xmlns:a16="http://schemas.microsoft.com/office/drawing/2014/main" val="913776455"/>
                    </a:ext>
                  </a:extLst>
                </a:gridCol>
              </a:tblGrid>
              <a:tr h="969298">
                <a:tc>
                  <a:txBody>
                    <a:bodyPr/>
                    <a:lstStyle/>
                    <a:p>
                      <a:pPr>
                        <a:tabLst>
                          <a:tab pos="1520825" algn="l"/>
                        </a:tabLst>
                      </a:pPr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1. ICCT</a:t>
                      </a:r>
                      <a:endParaRPr lang="en-GB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dirty="0"/>
                        <a:t>“</a:t>
                      </a:r>
                      <a:r>
                        <a:rPr lang="en-US" sz="1800" b="1" dirty="0"/>
                        <a:t>Considerations for transport policies mitigating the negative impact of vehicle noise</a:t>
                      </a:r>
                      <a:r>
                        <a:rPr lang="en-US" sz="1800" dirty="0"/>
                        <a:t>”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esses out the adverse effect on health of single events and </a:t>
                      </a:r>
                      <a:r>
                        <a:rPr lang="en-US" sz="18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max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 proposes to take regulatory action to put a “not to exceed” sound limit at any operation condition, and put a limit on stationary sound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b="1" noProof="0" dirty="0">
                          <a:solidFill>
                            <a:schemeClr val="tx1"/>
                          </a:solidFill>
                        </a:rPr>
                        <a:t>Discussion</a:t>
                      </a:r>
                      <a:r>
                        <a:rPr lang="en-US" b="0" noProof="0" dirty="0">
                          <a:solidFill>
                            <a:schemeClr val="tx1"/>
                          </a:solidFill>
                        </a:rPr>
                        <a:t>: The group reminded that forthcoming RD-ASEP will cover a wider range of operation conditions in R51 and R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556052"/>
                  </a:ext>
                </a:extLst>
              </a:tr>
              <a:tr h="190085">
                <a:tc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7429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tabLst>
                          <a:tab pos="1520825" algn="l"/>
                        </a:tabLst>
                      </a:pPr>
                      <a:r>
                        <a:rPr lang="de-DE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 RWTH Aachen University</a:t>
                      </a:r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GB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dirty="0"/>
                        <a:t>“</a:t>
                      </a:r>
                      <a:r>
                        <a:rPr lang="en-US" sz="1800" b="1" dirty="0"/>
                        <a:t>Integrating Type Approval into CNOSSOS-EU</a:t>
                      </a:r>
                      <a:r>
                        <a:rPr lang="en-US" sz="1800" dirty="0"/>
                        <a:t>”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NOSSOS-EU sound mapping tool uses 2007 data, missing recent vehicle noise improvement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 is proposed to use Type Approval data to refresh </a:t>
                      </a:r>
                      <a:r>
                        <a:rPr lang="en-US" sz="180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yre</a:t>
                      </a:r>
                      <a:r>
                        <a:rPr lang="en-US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powertrain noise model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ussion</a:t>
                      </a:r>
                      <a:r>
                        <a:rPr lang="en-US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CNOSSOS is acknowledged as outdated by some CPs, but there is no plan to update CNOSSOS at EU. This would require a preliminary EU research project</a:t>
                      </a:r>
                      <a:endParaRPr lang="en-US" noProof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780863"/>
                  </a:ext>
                </a:extLst>
              </a:tr>
            </a:tbl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FCCC9B96-18CA-E689-1A07-A7284053B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659" y="136526"/>
            <a:ext cx="10774681" cy="959084"/>
          </a:xfrm>
        </p:spPr>
        <p:txBody>
          <a:bodyPr/>
          <a:lstStyle/>
          <a:p>
            <a:r>
              <a:rPr lang="en-GB" noProof="0" dirty="0"/>
              <a:t>TF-VS #18 Session</a:t>
            </a:r>
            <a:r>
              <a:rPr lang="en-GB" dirty="0"/>
              <a:t> – </a:t>
            </a:r>
            <a:r>
              <a:rPr lang="en-GB" sz="3200" dirty="0"/>
              <a:t>Brussels, 9</a:t>
            </a:r>
            <a:r>
              <a:rPr lang="en-GB" sz="3200" baseline="30000" dirty="0"/>
              <a:t>th</a:t>
            </a:r>
            <a:r>
              <a:rPr lang="en-GB" sz="3200" dirty="0"/>
              <a:t> July 2025</a:t>
            </a:r>
            <a:endParaRPr lang="en-GB" noProof="0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FAE1E3D-B206-6364-81C2-40D736158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5D37-6DEC-499C-8062-DD8488EC10D3}" type="slidenum">
              <a:rPr lang="en-GB" noProof="0" smtClean="0"/>
              <a:t>5</a:t>
            </a:fld>
            <a:endParaRPr lang="en-GB" noProof="0" dirty="0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65A4C964-3B34-0800-7047-CE61CA23FA2A}"/>
              </a:ext>
            </a:extLst>
          </p:cNvPr>
          <p:cNvSpPr txBox="1">
            <a:spLocks/>
          </p:cNvSpPr>
          <p:nvPr/>
        </p:nvSpPr>
        <p:spPr>
          <a:xfrm>
            <a:off x="200659" y="984086"/>
            <a:ext cx="6399318" cy="5478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+mn-lt"/>
              </a:rPr>
              <a:t>P</a:t>
            </a:r>
            <a:r>
              <a:rPr lang="en-GB" sz="2400" b="1" noProof="0" dirty="0" err="1">
                <a:latin typeface="+mn-lt"/>
              </a:rPr>
              <a:t>resentations</a:t>
            </a:r>
            <a:endParaRPr lang="en-GB" sz="2400" b="1" noProof="0" dirty="0">
              <a:latin typeface="+mn-lt"/>
            </a:endParaRP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7550548A-1A8F-AAF1-3F67-3DE7E713384C}"/>
              </a:ext>
            </a:extLst>
          </p:cNvPr>
          <p:cNvSpPr txBox="1">
            <a:spLocks/>
          </p:cNvSpPr>
          <p:nvPr/>
        </p:nvSpPr>
        <p:spPr>
          <a:xfrm>
            <a:off x="10496078" y="1002316"/>
            <a:ext cx="1364901" cy="5478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+mn-lt"/>
              </a:rPr>
              <a:t>Domains</a:t>
            </a:r>
            <a:endParaRPr lang="en-GB" sz="2400" b="1" noProof="0" dirty="0">
              <a:latin typeface="+mn-lt"/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D658F15D-ED96-8984-CA92-ED66173A7713}"/>
              </a:ext>
            </a:extLst>
          </p:cNvPr>
          <p:cNvSpPr/>
          <p:nvPr/>
        </p:nvSpPr>
        <p:spPr>
          <a:xfrm>
            <a:off x="10595365" y="1722327"/>
            <a:ext cx="1166328" cy="285053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Enforcement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2708726A-8603-FC39-466B-C6E5955325F3}"/>
              </a:ext>
            </a:extLst>
          </p:cNvPr>
          <p:cNvSpPr/>
          <p:nvPr/>
        </p:nvSpPr>
        <p:spPr>
          <a:xfrm>
            <a:off x="10595365" y="2088953"/>
            <a:ext cx="1166328" cy="28505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Vehicl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295B42CA-CF2F-6BA1-F5EC-B0E96E7704DB}"/>
              </a:ext>
            </a:extLst>
          </p:cNvPr>
          <p:cNvSpPr/>
          <p:nvPr/>
        </p:nvSpPr>
        <p:spPr>
          <a:xfrm>
            <a:off x="10595365" y="3610221"/>
            <a:ext cx="1166328" cy="285053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Immission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017E3B5F-80C6-D3CC-1127-EBE9F61E5694}"/>
              </a:ext>
            </a:extLst>
          </p:cNvPr>
          <p:cNvSpPr/>
          <p:nvPr/>
        </p:nvSpPr>
        <p:spPr>
          <a:xfrm>
            <a:off x="10595365" y="3976847"/>
            <a:ext cx="1166328" cy="28505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Vehicle</a:t>
            </a:r>
          </a:p>
        </p:txBody>
      </p:sp>
    </p:spTree>
    <p:extLst>
      <p:ext uri="{BB962C8B-B14F-4D97-AF65-F5344CB8AC3E}">
        <p14:creationId xmlns:p14="http://schemas.microsoft.com/office/powerpoint/2010/main" val="989111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D03FE-0E7A-E3F7-8DB9-F2DBAEF437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AD2BE137-BCF9-4494-DB9B-5CC3ABBD01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821644"/>
              </p:ext>
            </p:extLst>
          </p:nvPr>
        </p:nvGraphicFramePr>
        <p:xfrm>
          <a:off x="349682" y="1506220"/>
          <a:ext cx="11492636" cy="4487765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516441">
                  <a:extLst>
                    <a:ext uri="{9D8B030D-6E8A-4147-A177-3AD203B41FA5}">
                      <a16:colId xmlns:a16="http://schemas.microsoft.com/office/drawing/2014/main" val="569701041"/>
                    </a:ext>
                  </a:extLst>
                </a:gridCol>
                <a:gridCol w="8659086">
                  <a:extLst>
                    <a:ext uri="{9D8B030D-6E8A-4147-A177-3AD203B41FA5}">
                      <a16:colId xmlns:a16="http://schemas.microsoft.com/office/drawing/2014/main" val="3675810666"/>
                    </a:ext>
                  </a:extLst>
                </a:gridCol>
                <a:gridCol w="1317109">
                  <a:extLst>
                    <a:ext uri="{9D8B030D-6E8A-4147-A177-3AD203B41FA5}">
                      <a16:colId xmlns:a16="http://schemas.microsoft.com/office/drawing/2014/main" val="913776455"/>
                    </a:ext>
                  </a:extLst>
                </a:gridCol>
              </a:tblGrid>
              <a:tr h="969298">
                <a:tc>
                  <a:txBody>
                    <a:bodyPr/>
                    <a:lstStyle/>
                    <a:p>
                      <a:pPr>
                        <a:tabLst>
                          <a:tab pos="1520825" algn="l"/>
                        </a:tabLst>
                      </a:pPr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3. ETRTO</a:t>
                      </a:r>
                      <a:endParaRPr lang="en-GB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dirty="0"/>
                        <a:t>“</a:t>
                      </a:r>
                      <a:r>
                        <a:rPr lang="en-US" sz="1800" b="1" dirty="0"/>
                        <a:t>ETRTO comments on the latest outcomes on the LEON-T study</a:t>
                      </a:r>
                      <a:r>
                        <a:rPr lang="en-US" sz="1800" dirty="0"/>
                        <a:t>”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TF-VS #17, JRC presented the conclusions on LEON-T project, recommending to lower the </a:t>
                      </a:r>
                      <a:r>
                        <a:rPr lang="en-US" sz="18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yre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ound level limit values by 2dB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RTO stresses the fact that this reduction would have an impact on other </a:t>
                      </a:r>
                      <a:r>
                        <a:rPr lang="en-US" sz="18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yre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rformance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ussion</a:t>
                      </a:r>
                      <a:r>
                        <a:rPr lang="en-US" sz="18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feedback to LEON-T should be discussed in specific meeting with JRC and ETRTO/OI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556052"/>
                  </a:ext>
                </a:extLst>
              </a:tr>
              <a:tr h="190085">
                <a:tc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7429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tabLst>
                          <a:tab pos="1520825" algn="l"/>
                        </a:tabLst>
                      </a:pPr>
                      <a:r>
                        <a:rPr lang="fr-FR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 EMPA (</a:t>
                      </a:r>
                      <a:r>
                        <a:rPr lang="fr-FR" sz="18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witzerland</a:t>
                      </a:r>
                      <a:r>
                        <a:rPr lang="fr-FR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GB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dirty="0"/>
                        <a:t>“</a:t>
                      </a:r>
                      <a:r>
                        <a:rPr lang="en-US" sz="1800" b="1" dirty="0"/>
                        <a:t>Comparing Measured Pass-by Levels of Accelerating Battery Electric Cars and Combustion Engine Cars</a:t>
                      </a:r>
                      <a:r>
                        <a:rPr lang="en-US" sz="1800" dirty="0"/>
                        <a:t>”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PA measured the noise emissions of ICE vs. EVs vehicles under similar condition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s and ICE appear to emit similar sound levels at constant speed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CEs are 1–3 dB louder during acceleration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data is processed to calibrate a CNOSSOS-like model using real traffic profiles. The model shows EV noise benefit is limited to high acceleration and speeds below 40 km/h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ussion</a:t>
                      </a:r>
                      <a:r>
                        <a:rPr lang="en-US" sz="18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these findings are in line with other works on the benefits of electrification</a:t>
                      </a:r>
                      <a:endParaRPr lang="en-US" noProof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780863"/>
                  </a:ext>
                </a:extLst>
              </a:tr>
            </a:tbl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176DEE74-1DA2-89A0-7C0D-1C98FB8C7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659" y="136526"/>
            <a:ext cx="10774681" cy="959084"/>
          </a:xfrm>
        </p:spPr>
        <p:txBody>
          <a:bodyPr/>
          <a:lstStyle/>
          <a:p>
            <a:r>
              <a:rPr lang="en-GB" noProof="0" dirty="0"/>
              <a:t>TF-VS #18 Session</a:t>
            </a:r>
            <a:r>
              <a:rPr lang="en-GB" dirty="0"/>
              <a:t> – </a:t>
            </a:r>
            <a:r>
              <a:rPr lang="en-GB" sz="3200" dirty="0"/>
              <a:t>Brussels, 9</a:t>
            </a:r>
            <a:r>
              <a:rPr lang="en-GB" sz="3200" baseline="30000" dirty="0"/>
              <a:t>th</a:t>
            </a:r>
            <a:r>
              <a:rPr lang="en-GB" sz="3200" dirty="0"/>
              <a:t> July 2025 (continued)</a:t>
            </a:r>
            <a:endParaRPr lang="en-GB" noProof="0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161B5B0-874F-4162-2EA8-6C10D2568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5D37-6DEC-499C-8062-DD8488EC10D3}" type="slidenum">
              <a:rPr lang="en-GB" noProof="0" smtClean="0"/>
              <a:t>6</a:t>
            </a:fld>
            <a:endParaRPr lang="en-GB" noProof="0" dirty="0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D34992F3-D520-6185-767C-9EA3A93F31FC}"/>
              </a:ext>
            </a:extLst>
          </p:cNvPr>
          <p:cNvSpPr txBox="1">
            <a:spLocks/>
          </p:cNvSpPr>
          <p:nvPr/>
        </p:nvSpPr>
        <p:spPr>
          <a:xfrm>
            <a:off x="200659" y="984086"/>
            <a:ext cx="6399318" cy="5478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+mn-lt"/>
              </a:rPr>
              <a:t>P</a:t>
            </a:r>
            <a:r>
              <a:rPr lang="en-GB" sz="2400" b="1" noProof="0" dirty="0" err="1">
                <a:latin typeface="+mn-lt"/>
              </a:rPr>
              <a:t>resentations</a:t>
            </a:r>
            <a:endParaRPr lang="en-GB" sz="2400" b="1" noProof="0" dirty="0">
              <a:latin typeface="+mn-lt"/>
            </a:endParaRP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DA35C868-D555-416E-2FF7-EBBB2771035D}"/>
              </a:ext>
            </a:extLst>
          </p:cNvPr>
          <p:cNvSpPr txBox="1">
            <a:spLocks/>
          </p:cNvSpPr>
          <p:nvPr/>
        </p:nvSpPr>
        <p:spPr>
          <a:xfrm>
            <a:off x="10547157" y="984086"/>
            <a:ext cx="1364901" cy="5478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+mn-lt"/>
              </a:rPr>
              <a:t>Domains</a:t>
            </a:r>
            <a:endParaRPr lang="en-GB" sz="2400" b="1" noProof="0" dirty="0">
              <a:latin typeface="+mn-lt"/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05D8C3C3-9FE0-7A8F-7DFD-38F91B23C6C4}"/>
              </a:ext>
            </a:extLst>
          </p:cNvPr>
          <p:cNvSpPr/>
          <p:nvPr/>
        </p:nvSpPr>
        <p:spPr>
          <a:xfrm>
            <a:off x="10595365" y="1722327"/>
            <a:ext cx="1166328" cy="285053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Enforcement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FA8219C1-9AEC-1E3D-27C6-C750CC0C8038}"/>
              </a:ext>
            </a:extLst>
          </p:cNvPr>
          <p:cNvSpPr/>
          <p:nvPr/>
        </p:nvSpPr>
        <p:spPr>
          <a:xfrm>
            <a:off x="10595365" y="2088953"/>
            <a:ext cx="1166328" cy="285053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Tyre / road</a:t>
            </a:r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DF163C89-A3BD-A1DD-3270-16F806BA2713}"/>
              </a:ext>
            </a:extLst>
          </p:cNvPr>
          <p:cNvSpPr/>
          <p:nvPr/>
        </p:nvSpPr>
        <p:spPr>
          <a:xfrm>
            <a:off x="10595365" y="3610221"/>
            <a:ext cx="1166328" cy="285053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Immission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4D1AE3B6-75A6-14E6-61E1-E48F3EB66E2B}"/>
              </a:ext>
            </a:extLst>
          </p:cNvPr>
          <p:cNvSpPr/>
          <p:nvPr/>
        </p:nvSpPr>
        <p:spPr>
          <a:xfrm>
            <a:off x="10595365" y="3976847"/>
            <a:ext cx="1166328" cy="28505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Vehicle</a:t>
            </a:r>
          </a:p>
        </p:txBody>
      </p:sp>
    </p:spTree>
    <p:extLst>
      <p:ext uri="{BB962C8B-B14F-4D97-AF65-F5344CB8AC3E}">
        <p14:creationId xmlns:p14="http://schemas.microsoft.com/office/powerpoint/2010/main" val="37006385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94A81B-373E-B1F1-900A-734426D117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0AA184-1AC7-FA05-0356-3C314E1BA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659" y="136526"/>
            <a:ext cx="10774681" cy="959084"/>
          </a:xfrm>
        </p:spPr>
        <p:txBody>
          <a:bodyPr/>
          <a:lstStyle/>
          <a:p>
            <a:r>
              <a:rPr lang="en-GB" noProof="0" dirty="0"/>
              <a:t>Task Force Vehicle Sound – other activities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57E1CCA-ABAA-F580-3D48-4C50CBE17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5D37-6DEC-499C-8062-DD8488EC10D3}" type="slidenum">
              <a:rPr lang="en-GB" noProof="0" smtClean="0"/>
              <a:t>7</a:t>
            </a:fld>
            <a:endParaRPr lang="en-GB" noProof="0" dirty="0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F07B4CD6-A6EB-E0AB-3686-DC451FB854BD}"/>
              </a:ext>
            </a:extLst>
          </p:cNvPr>
          <p:cNvSpPr txBox="1">
            <a:spLocks/>
          </p:cNvSpPr>
          <p:nvPr/>
        </p:nvSpPr>
        <p:spPr>
          <a:xfrm>
            <a:off x="200659" y="984086"/>
            <a:ext cx="6399318" cy="5478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+mn-lt"/>
              </a:rPr>
              <a:t>The Cross Matrix</a:t>
            </a:r>
            <a:endParaRPr lang="en-GB" sz="2400" b="1" noProof="0" dirty="0">
              <a:latin typeface="+mn-lt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8999301-FCC2-592E-07BA-F3401D5CA19D}"/>
              </a:ext>
            </a:extLst>
          </p:cNvPr>
          <p:cNvSpPr txBox="1"/>
          <p:nvPr/>
        </p:nvSpPr>
        <p:spPr bwMode="gray">
          <a:xfrm>
            <a:off x="270587" y="1531942"/>
            <a:ext cx="6120880" cy="67710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b="1" dirty="0"/>
              <a:t>Purpose</a:t>
            </a:r>
            <a:r>
              <a:rPr lang="en-US" b="1" dirty="0"/>
              <a:t> : </a:t>
            </a:r>
            <a:r>
              <a:rPr lang="en-US" sz="1800" b="0" kern="120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 reference sound exposure models for the evaluation of sound abatement measure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60711E8-94F3-1108-C51C-C9C131D5042F}"/>
              </a:ext>
            </a:extLst>
          </p:cNvPr>
          <p:cNvSpPr txBox="1"/>
          <p:nvPr/>
        </p:nvSpPr>
        <p:spPr bwMode="gray">
          <a:xfrm>
            <a:off x="270587" y="2379502"/>
            <a:ext cx="6120880" cy="150810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b="1" dirty="0"/>
              <a:t>Mean</a:t>
            </a:r>
            <a:r>
              <a:rPr lang="en-US" b="1" dirty="0"/>
              <a:t> : </a:t>
            </a:r>
            <a:r>
              <a:rPr lang="en-US" sz="1800" b="0" kern="120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und exposure models are based on </a:t>
            </a:r>
            <a:r>
              <a:rPr lang="en-US" sz="1800" b="1" kern="120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only agreed hypothesis</a:t>
            </a:r>
            <a:r>
              <a:rPr lang="en-US" sz="1800" b="0" kern="120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ehicle fleet composi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kern="120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hicle sound emission models (powertrain, </a:t>
            </a:r>
            <a:r>
              <a:rPr lang="en-US" b="0" kern="1200" noProof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re</a:t>
            </a:r>
            <a:r>
              <a:rPr lang="en-US" b="0" kern="120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roa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ffic scenarios (single event ?, average </a:t>
            </a:r>
            <a:r>
              <a:rPr lang="en-US" dirty="0" err="1"/>
              <a:t>L</a:t>
            </a:r>
            <a:r>
              <a:rPr lang="en-US" baseline="-25000" dirty="0" err="1"/>
              <a:t>eq</a:t>
            </a:r>
            <a:r>
              <a:rPr lang="en-US" dirty="0"/>
              <a:t> ?)</a:t>
            </a:r>
            <a:endParaRPr lang="en-US" b="0" kern="1200" noProof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21CF34B6-2DF3-512F-FAE8-5D87FB539DF3}"/>
              </a:ext>
            </a:extLst>
          </p:cNvPr>
          <p:cNvSpPr txBox="1"/>
          <p:nvPr/>
        </p:nvSpPr>
        <p:spPr bwMode="gray">
          <a:xfrm>
            <a:off x="270587" y="4058059"/>
            <a:ext cx="6120880" cy="67710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dirty="0"/>
              <a:t>A</a:t>
            </a:r>
            <a:r>
              <a:rPr lang="en-US" sz="2000" b="1" dirty="0"/>
              <a:t> Cross Matrix Subgroup </a:t>
            </a:r>
            <a:r>
              <a:rPr lang="en-US" sz="2000" dirty="0"/>
              <a:t>was created to gather data</a:t>
            </a:r>
            <a:endParaRPr lang="en-US" sz="1800" kern="1200" noProof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st meeting held in April 2022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99FC8C27-45EC-649E-2C42-B4531A9D9633}"/>
              </a:ext>
            </a:extLst>
          </p:cNvPr>
          <p:cNvSpPr txBox="1"/>
          <p:nvPr/>
        </p:nvSpPr>
        <p:spPr bwMode="gray">
          <a:xfrm>
            <a:off x="270587" y="4905619"/>
            <a:ext cx="6120880" cy="150810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b="1" kern="120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ent outcome</a:t>
            </a:r>
            <a:endParaRPr lang="en-US" sz="1800" b="1" kern="1200" noProof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TFVS-17-07</a:t>
            </a:r>
            <a:r>
              <a:rPr lang="en-US" dirty="0"/>
              <a:t> – “</a:t>
            </a:r>
            <a:r>
              <a:rPr lang="en-US" i="1" dirty="0"/>
              <a:t>Considerations on the use of existing road traffic noise models for GRBP work</a:t>
            </a:r>
            <a:r>
              <a:rPr lang="en-US" dirty="0"/>
              <a:t>” – HMG </a:t>
            </a:r>
            <a:r>
              <a:rPr lang="en-US" dirty="0" err="1"/>
              <a:t>Akustiklabor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ares vehicle sound emission models from EU (CNOSSOS), Japan, Switzerland and HMG </a:t>
            </a:r>
            <a:r>
              <a:rPr lang="en-US" dirty="0" err="1"/>
              <a:t>Akustiklabor</a:t>
            </a:r>
            <a:endParaRPr lang="en-US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5245734F-D6C9-6BDF-D60E-24483CEA3A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4932" y="2209050"/>
            <a:ext cx="4976481" cy="44130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Flèche : droite 18">
            <a:extLst>
              <a:ext uri="{FF2B5EF4-FFF2-40B4-BE49-F238E27FC236}">
                <a16:creationId xmlns:a16="http://schemas.microsoft.com/office/drawing/2014/main" id="{603A2984-7D2E-5B1A-4A85-90103184B4FE}"/>
              </a:ext>
            </a:extLst>
          </p:cNvPr>
          <p:cNvSpPr/>
          <p:nvPr/>
        </p:nvSpPr>
        <p:spPr>
          <a:xfrm>
            <a:off x="6027576" y="6074229"/>
            <a:ext cx="699795" cy="50994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74556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AE0E4F-7E8D-74E9-348F-9E1F08122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4188FF-2E69-8209-F166-73B84C4F1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659" y="136526"/>
            <a:ext cx="10774681" cy="959084"/>
          </a:xfrm>
        </p:spPr>
        <p:txBody>
          <a:bodyPr/>
          <a:lstStyle/>
          <a:p>
            <a:r>
              <a:rPr lang="en-GB" noProof="0" dirty="0"/>
              <a:t>Task Force Vehicle Sound – Next Step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CDD3908-B721-E8E8-EB84-3007287E9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5D37-6DEC-499C-8062-DD8488EC10D3}" type="slidenum">
              <a:rPr lang="en-GB" noProof="0" smtClean="0"/>
              <a:t>8</a:t>
            </a:fld>
            <a:endParaRPr lang="en-GB" noProof="0" dirty="0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33A4B6AF-EFEF-DB2C-FB87-232461F687E2}"/>
              </a:ext>
            </a:extLst>
          </p:cNvPr>
          <p:cNvSpPr txBox="1">
            <a:spLocks/>
          </p:cNvSpPr>
          <p:nvPr/>
        </p:nvSpPr>
        <p:spPr>
          <a:xfrm>
            <a:off x="200659" y="984086"/>
            <a:ext cx="6399318" cy="5478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+mn-lt"/>
              </a:rPr>
              <a:t>TF-VS #19 meeting</a:t>
            </a:r>
            <a:endParaRPr lang="en-GB" sz="2400" b="1" noProof="0" dirty="0">
              <a:latin typeface="+mn-lt"/>
            </a:endParaRPr>
          </a:p>
        </p:txBody>
      </p:sp>
      <p:sp>
        <p:nvSpPr>
          <p:cNvPr id="11" name="Espace réservé du contenu 5">
            <a:extLst>
              <a:ext uri="{FF2B5EF4-FFF2-40B4-BE49-F238E27FC236}">
                <a16:creationId xmlns:a16="http://schemas.microsoft.com/office/drawing/2014/main" id="{C581C242-A270-BB4D-4F28-BDAF7676EC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9740" y="1569639"/>
            <a:ext cx="8404342" cy="2241870"/>
          </a:xfrm>
        </p:spPr>
        <p:txBody>
          <a:bodyPr>
            <a:noAutofit/>
          </a:bodyPr>
          <a:lstStyle/>
          <a:p>
            <a:pPr marL="263525" lvl="1" indent="-173038">
              <a:lnSpc>
                <a:spcPct val="120000"/>
              </a:lnSpc>
              <a:spcAft>
                <a:spcPts val="900"/>
              </a:spcAft>
            </a:pPr>
            <a:r>
              <a:rPr lang="en-GB" sz="2000" noProof="0" dirty="0"/>
              <a:t>Joining the Working Groups meeting week in Munich, 20</a:t>
            </a:r>
            <a:r>
              <a:rPr lang="en-GB" sz="2000" baseline="30000" noProof="0" dirty="0"/>
              <a:t>th</a:t>
            </a:r>
            <a:r>
              <a:rPr lang="en-GB" sz="2000" noProof="0" dirty="0"/>
              <a:t> October 2025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17CF9AEF-4518-CF16-90BA-14F98F2FF4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0573121"/>
              </p:ext>
            </p:extLst>
          </p:nvPr>
        </p:nvGraphicFramePr>
        <p:xfrm>
          <a:off x="1066800" y="2428194"/>
          <a:ext cx="9469120" cy="28420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2005">
                  <a:extLst>
                    <a:ext uri="{9D8B030D-6E8A-4147-A177-3AD203B41FA5}">
                      <a16:colId xmlns:a16="http://schemas.microsoft.com/office/drawing/2014/main" val="2118092745"/>
                    </a:ext>
                  </a:extLst>
                </a:gridCol>
                <a:gridCol w="1665423">
                  <a:extLst>
                    <a:ext uri="{9D8B030D-6E8A-4147-A177-3AD203B41FA5}">
                      <a16:colId xmlns:a16="http://schemas.microsoft.com/office/drawing/2014/main" val="4073214196"/>
                    </a:ext>
                  </a:extLst>
                </a:gridCol>
                <a:gridCol w="1665423">
                  <a:extLst>
                    <a:ext uri="{9D8B030D-6E8A-4147-A177-3AD203B41FA5}">
                      <a16:colId xmlns:a16="http://schemas.microsoft.com/office/drawing/2014/main" val="2039392433"/>
                    </a:ext>
                  </a:extLst>
                </a:gridCol>
                <a:gridCol w="1665423">
                  <a:extLst>
                    <a:ext uri="{9D8B030D-6E8A-4147-A177-3AD203B41FA5}">
                      <a16:colId xmlns:a16="http://schemas.microsoft.com/office/drawing/2014/main" val="403116519"/>
                    </a:ext>
                  </a:extLst>
                </a:gridCol>
                <a:gridCol w="1665423">
                  <a:extLst>
                    <a:ext uri="{9D8B030D-6E8A-4147-A177-3AD203B41FA5}">
                      <a16:colId xmlns:a16="http://schemas.microsoft.com/office/drawing/2014/main" val="2479974125"/>
                    </a:ext>
                  </a:extLst>
                </a:gridCol>
                <a:gridCol w="1665423">
                  <a:extLst>
                    <a:ext uri="{9D8B030D-6E8A-4147-A177-3AD203B41FA5}">
                      <a16:colId xmlns:a16="http://schemas.microsoft.com/office/drawing/2014/main" val="1704364890"/>
                    </a:ext>
                  </a:extLst>
                </a:gridCol>
              </a:tblGrid>
              <a:tr h="66759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 dirty="0">
                          <a:effectLst/>
                        </a:rPr>
                        <a:t>Mon. 20 </a:t>
                      </a:r>
                      <a:r>
                        <a:rPr lang="fr-FR" sz="2000" b="1" u="none" strike="noStrike" dirty="0" err="1">
                          <a:effectLst/>
                        </a:rPr>
                        <a:t>Oct</a:t>
                      </a:r>
                      <a:endParaRPr lang="fr-FR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>
                          <a:effectLst/>
                        </a:rPr>
                        <a:t>Tue. 21 Oct.</a:t>
                      </a:r>
                      <a:endParaRPr lang="fr-FR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>
                          <a:effectLst/>
                        </a:rPr>
                        <a:t>Wed. 22 Oct.</a:t>
                      </a:r>
                      <a:endParaRPr lang="fr-FR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 dirty="0">
                          <a:effectLst/>
                        </a:rPr>
                        <a:t>Thu. 23 </a:t>
                      </a:r>
                      <a:r>
                        <a:rPr lang="fr-FR" sz="2000" b="1" u="none" strike="noStrike" dirty="0" err="1">
                          <a:effectLst/>
                        </a:rPr>
                        <a:t>Oct</a:t>
                      </a:r>
                      <a:endParaRPr lang="fr-FR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 dirty="0" err="1">
                          <a:effectLst/>
                        </a:rPr>
                        <a:t>Fri</a:t>
                      </a:r>
                      <a:r>
                        <a:rPr lang="fr-FR" sz="2000" b="1" u="none" strike="noStrike" dirty="0">
                          <a:effectLst/>
                        </a:rPr>
                        <a:t>. 24 Oct.</a:t>
                      </a:r>
                      <a:endParaRPr lang="fr-FR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/>
                </a:tc>
                <a:extLst>
                  <a:ext uri="{0D108BD9-81ED-4DB2-BD59-A6C34878D82A}">
                    <a16:rowId xmlns:a16="http://schemas.microsoft.com/office/drawing/2014/main" val="3987160408"/>
                  </a:ext>
                </a:extLst>
              </a:tr>
              <a:tr h="108721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u="none" strike="noStrike" dirty="0">
                          <a:effectLst/>
                        </a:rPr>
                        <a:t>Morning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 dirty="0">
                          <a:solidFill>
                            <a:schemeClr val="accent1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IWG RD-ASEP</a:t>
                      </a:r>
                      <a:endParaRPr lang="fr-FR" sz="2000" b="1" i="0" u="none" strike="noStrike" dirty="0">
                        <a:solidFill>
                          <a:schemeClr val="accent1">
                            <a:lumMod val="40000"/>
                            <a:lumOff val="6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 dirty="0">
                          <a:solidFill>
                            <a:schemeClr val="accent1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IWG RD-ASEP</a:t>
                      </a:r>
                      <a:endParaRPr lang="fr-FR" sz="2000" b="1" i="0" u="none" strike="noStrike" dirty="0">
                        <a:solidFill>
                          <a:schemeClr val="accent1">
                            <a:lumMod val="40000"/>
                            <a:lumOff val="6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 dirty="0">
                          <a:effectLst/>
                        </a:rPr>
                        <a:t>SG R51/R138</a:t>
                      </a:r>
                      <a:endParaRPr lang="fr-FR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 dirty="0">
                          <a:effectLst/>
                        </a:rPr>
                        <a:t>TF-AVRS</a:t>
                      </a:r>
                      <a:endParaRPr lang="fr-FR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7830011"/>
                  </a:ext>
                </a:extLst>
              </a:tr>
              <a:tr h="108721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u="none" strike="noStrike" dirty="0" err="1">
                          <a:effectLst/>
                        </a:rPr>
                        <a:t>Afternoon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 dirty="0">
                          <a:effectLst/>
                        </a:rPr>
                        <a:t>TF-VS</a:t>
                      </a:r>
                      <a:endParaRPr lang="fr-FR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 dirty="0">
                          <a:solidFill>
                            <a:schemeClr val="accent1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IWG RD-ASEP</a:t>
                      </a:r>
                      <a:endParaRPr lang="fr-FR" sz="2000" b="1" i="0" u="none" strike="noStrike" dirty="0">
                        <a:solidFill>
                          <a:schemeClr val="accent1">
                            <a:lumMod val="40000"/>
                            <a:lumOff val="6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 dirty="0">
                          <a:effectLst/>
                        </a:rPr>
                        <a:t>SG R51/R138</a:t>
                      </a:r>
                      <a:endParaRPr lang="fr-FR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2000" b="1" u="none" strike="noStrike" dirty="0">
                          <a:effectLst/>
                        </a:rPr>
                        <a:t>SG R51/R138</a:t>
                      </a:r>
                      <a:endParaRPr lang="fr-FR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411" marR="10411" marT="10411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691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24902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C2174B0-794C-4460-BC29-5336BD041ABC}"/>
              </a:ext>
            </a:extLst>
          </p:cNvPr>
          <p:cNvSpPr txBox="1"/>
          <p:nvPr/>
        </p:nvSpPr>
        <p:spPr>
          <a:xfrm>
            <a:off x="4443327" y="3267135"/>
            <a:ext cx="303461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800" b="1" noProof="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659037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 bwMode="gray">
        <a:solidFill>
          <a:schemeClr val="bg2"/>
        </a:solidFill>
      </a:spPr>
      <a:bodyPr vert="horz" wrap="square" lIns="108000" tIns="72000" rIns="108000" bIns="72000" rtlCol="0" anchor="ctr">
        <a:noAutofit/>
      </a:bodyPr>
      <a:lstStyle>
        <a:defPPr algn="l">
          <a:defRPr sz="20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  <Path xmlns="acccb6d4-dbe5-46d2-b4d3-5733603d8cc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21" ma:contentTypeDescription="Create a new document." ma:contentTypeScope="" ma:versionID="70aa97d293dc1b068aad8ec574bd5b29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116effa8a8d4dca7515820515ac66886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  <xsd:element ref="ns3:Pat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  <xsd:element name="Path" ma:index="27" nillable="true" ma:displayName="Path" ma:internalName="Path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62FF2A7-D60C-4449-8199-0DC421187482}">
  <ds:schemaRefs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eb774577-1b74-4d7e-9d7b-b91730bd145b"/>
    <ds:schemaRef ds:uri="http://schemas.microsoft.com/office/2006/documentManagement/types"/>
    <ds:schemaRef ds:uri="102a6e23-cd47-4431-b785-71f85739a36e"/>
    <ds:schemaRef ds:uri="http://schemas.microsoft.com/sharepoint/v3"/>
    <ds:schemaRef ds:uri="http://purl.org/dc/dcmitype/"/>
    <ds:schemaRef ds:uri="http://purl.org/dc/terms/"/>
    <ds:schemaRef ds:uri="acccb6d4-dbe5-46d2-b4d3-5733603d8cc6"/>
    <ds:schemaRef ds:uri="985ec44e-1bab-4c0b-9df0-6ba128686fc9"/>
  </ds:schemaRefs>
</ds:datastoreItem>
</file>

<file path=customXml/itemProps2.xml><?xml version="1.0" encoding="utf-8"?>
<ds:datastoreItem xmlns:ds="http://schemas.openxmlformats.org/officeDocument/2006/customXml" ds:itemID="{CE18F0FE-C82F-45C4-9E84-19E3F680AFC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929551-EFE3-4847-B426-F9C45C36A3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0f9e35db-544f-4f60-bdcc-5ea416e6dc70}" enabled="0" method="" siteId="{0f9e35db-544f-4f60-bdcc-5ea416e6dc70}" removed="1"/>
  <clbl:label id="{7f30fc12-c89a-4829-a476-5bf9e2086332}" enabled="1" method="Privileged" siteId="{d6b0bbee-7cd9-4d60-bce6-4a67b543e2a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49</TotalTime>
  <Words>945</Words>
  <Application>Microsoft Office PowerPoint</Application>
  <PresentationFormat>Widescreen</PresentationFormat>
  <Paragraphs>123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Office Theme</vt:lpstr>
      <vt:lpstr>think-cell Folie</vt:lpstr>
      <vt:lpstr>Status report to the 82nd session of GRBP (September 2025)</vt:lpstr>
      <vt:lpstr>Task Force on Vehicles’ Sound</vt:lpstr>
      <vt:lpstr>Task Force on Vehicles’ Sound: facts and figures</vt:lpstr>
      <vt:lpstr>Task Force on Vehicles’ Sound: achievements</vt:lpstr>
      <vt:lpstr>TF-VS #18 Session – Brussels, 9th July 2025</vt:lpstr>
      <vt:lpstr>TF-VS #18 Session – Brussels, 9th July 2025 (continued)</vt:lpstr>
      <vt:lpstr>Task Force Vehicle Sound – other activities</vt:lpstr>
      <vt:lpstr>Task Force Vehicle Sound – Next Step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F-VS Status Report to GRBP 82</dc:title>
  <dc:creator>yannick.denoual@renault.com</dc:creator>
  <cp:lastModifiedBy>Konstantin Glukhenkiy</cp:lastModifiedBy>
  <cp:revision>131</cp:revision>
  <dcterms:created xsi:type="dcterms:W3CDTF">2021-01-13T10:15:45Z</dcterms:created>
  <dcterms:modified xsi:type="dcterms:W3CDTF">2025-08-31T12:2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3B8422D08C252547BB1CFA7F78E2CB83</vt:lpwstr>
  </property>
  <property fmtid="{D5CDD505-2E9C-101B-9397-08002B2CF9AE}" pid="4" name="MSIP_Label_a7f2ec83-e677-438d-afb7-4c7c0dbc872b_Enabled">
    <vt:lpwstr>True</vt:lpwstr>
  </property>
  <property fmtid="{D5CDD505-2E9C-101B-9397-08002B2CF9AE}" pid="5" name="MSIP_Label_a7f2ec83-e677-438d-afb7-4c7c0dbc872b_SiteId">
    <vt:lpwstr>3bc062e4-ac9d-4c17-b4dd-3aad637ff1ac</vt:lpwstr>
  </property>
  <property fmtid="{D5CDD505-2E9C-101B-9397-08002B2CF9AE}" pid="6" name="MSIP_Label_a7f2ec83-e677-438d-afb7-4c7c0dbc872b_Ref">
    <vt:lpwstr>https://api.informationprotection.azure.com/api/3bc062e4-ac9d-4c17-b4dd-3aad637ff1ac</vt:lpwstr>
  </property>
  <property fmtid="{D5CDD505-2E9C-101B-9397-08002B2CF9AE}" pid="7" name="MSIP_Label_a7f2ec83-e677-438d-afb7-4c7c0dbc872b_Owner">
    <vt:lpwstr>manfred.klopotek@scania.com</vt:lpwstr>
  </property>
  <property fmtid="{D5CDD505-2E9C-101B-9397-08002B2CF9AE}" pid="8" name="MSIP_Label_a7f2ec83-e677-438d-afb7-4c7c0dbc872b_SetDate">
    <vt:lpwstr>2021-01-17T11:50:37.9731108+01:00</vt:lpwstr>
  </property>
  <property fmtid="{D5CDD505-2E9C-101B-9397-08002B2CF9AE}" pid="9" name="MSIP_Label_a7f2ec83-e677-438d-afb7-4c7c0dbc872b_Name">
    <vt:lpwstr>Internal</vt:lpwstr>
  </property>
  <property fmtid="{D5CDD505-2E9C-101B-9397-08002B2CF9AE}" pid="10" name="MSIP_Label_a7f2ec83-e677-438d-afb7-4c7c0dbc872b_Application">
    <vt:lpwstr>Microsoft Azure Information Protection</vt:lpwstr>
  </property>
  <property fmtid="{D5CDD505-2E9C-101B-9397-08002B2CF9AE}" pid="11" name="MSIP_Label_a7f2ec83-e677-438d-afb7-4c7c0dbc872b_Extended_MSFT_Method">
    <vt:lpwstr>Automatic</vt:lpwstr>
  </property>
  <property fmtid="{D5CDD505-2E9C-101B-9397-08002B2CF9AE}" pid="12" name="_AdHocReviewCycleID">
    <vt:i4>-1080916153</vt:i4>
  </property>
  <property fmtid="{D5CDD505-2E9C-101B-9397-08002B2CF9AE}" pid="13" name="_EmailSubject">
    <vt:lpwstr>GRBP 82 - Statut Report of TF-VS</vt:lpwstr>
  </property>
  <property fmtid="{D5CDD505-2E9C-101B-9397-08002B2CF9AE}" pid="14" name="_AuthorEmail">
    <vt:lpwstr>yannick.denoual@renault.com</vt:lpwstr>
  </property>
  <property fmtid="{D5CDD505-2E9C-101B-9397-08002B2CF9AE}" pid="15" name="_AuthorEmailDisplayName">
    <vt:lpwstr>DENOUAL Yannick</vt:lpwstr>
  </property>
  <property fmtid="{D5CDD505-2E9C-101B-9397-08002B2CF9AE}" pid="16" name="_PreviousAdHocReviewCycleID">
    <vt:i4>-1516578487</vt:i4>
  </property>
  <property fmtid="{D5CDD505-2E9C-101B-9397-08002B2CF9AE}" pid="17" name="MSIP_Label_7f30fc12-c89a-4829-a476-5bf9e2086332_Enabled">
    <vt:lpwstr>true</vt:lpwstr>
  </property>
  <property fmtid="{D5CDD505-2E9C-101B-9397-08002B2CF9AE}" pid="18" name="MSIP_Label_7f30fc12-c89a-4829-a476-5bf9e2086332_SetDate">
    <vt:lpwstr>2022-02-07T21:14:47Z</vt:lpwstr>
  </property>
  <property fmtid="{D5CDD505-2E9C-101B-9397-08002B2CF9AE}" pid="19" name="MSIP_Label_7f30fc12-c89a-4829-a476-5bf9e2086332_Method">
    <vt:lpwstr>Privileged</vt:lpwstr>
  </property>
  <property fmtid="{D5CDD505-2E9C-101B-9397-08002B2CF9AE}" pid="20" name="MSIP_Label_7f30fc12-c89a-4829-a476-5bf9e2086332_Name">
    <vt:lpwstr>Not protected (Anyone)_0</vt:lpwstr>
  </property>
  <property fmtid="{D5CDD505-2E9C-101B-9397-08002B2CF9AE}" pid="21" name="MSIP_Label_7f30fc12-c89a-4829-a476-5bf9e2086332_SiteId">
    <vt:lpwstr>d6b0bbee-7cd9-4d60-bce6-4a67b543e2ae</vt:lpwstr>
  </property>
  <property fmtid="{D5CDD505-2E9C-101B-9397-08002B2CF9AE}" pid="22" name="MSIP_Label_7f30fc12-c89a-4829-a476-5bf9e2086332_ActionId">
    <vt:lpwstr>d1898330-ea71-47cb-8606-6008517635ed</vt:lpwstr>
  </property>
  <property fmtid="{D5CDD505-2E9C-101B-9397-08002B2CF9AE}" pid="23" name="MSIP_Label_7f30fc12-c89a-4829-a476-5bf9e2086332_ContentBits">
    <vt:lpwstr>0</vt:lpwstr>
  </property>
  <property fmtid="{D5CDD505-2E9C-101B-9397-08002B2CF9AE}" pid="24" name="Office_x0020_of_x0020_Origin">
    <vt:lpwstr/>
  </property>
  <property fmtid="{D5CDD505-2E9C-101B-9397-08002B2CF9AE}" pid="25" name="MediaServiceImageTags">
    <vt:lpwstr/>
  </property>
  <property fmtid="{D5CDD505-2E9C-101B-9397-08002B2CF9AE}" pid="26" name="gba66df640194346a5267c50f24d4797">
    <vt:lpwstr/>
  </property>
  <property fmtid="{D5CDD505-2E9C-101B-9397-08002B2CF9AE}" pid="27" name="Office of Origin">
    <vt:lpwstr/>
  </property>
  <property fmtid="{D5CDD505-2E9C-101B-9397-08002B2CF9AE}" pid="28" name="MSIP_Label_5088a418-f430-4305-9955-63834dc14707_Enabled">
    <vt:lpwstr>true</vt:lpwstr>
  </property>
  <property fmtid="{D5CDD505-2E9C-101B-9397-08002B2CF9AE}" pid="29" name="MSIP_Label_5088a418-f430-4305-9955-63834dc14707_SetDate">
    <vt:lpwstr>2023-08-30T22:30:21Z</vt:lpwstr>
  </property>
  <property fmtid="{D5CDD505-2E9C-101B-9397-08002B2CF9AE}" pid="30" name="MSIP_Label_5088a418-f430-4305-9955-63834dc14707_Method">
    <vt:lpwstr>Privileged</vt:lpwstr>
  </property>
  <property fmtid="{D5CDD505-2E9C-101B-9397-08002B2CF9AE}" pid="31" name="MSIP_Label_5088a418-f430-4305-9955-63834dc14707_Name">
    <vt:lpwstr>General Business</vt:lpwstr>
  </property>
  <property fmtid="{D5CDD505-2E9C-101B-9397-08002B2CF9AE}" pid="32" name="MSIP_Label_5088a418-f430-4305-9955-63834dc14707_SiteId">
    <vt:lpwstr>51cc9718-2c01-4a5b-b258-5399ebafc611</vt:lpwstr>
  </property>
  <property fmtid="{D5CDD505-2E9C-101B-9397-08002B2CF9AE}" pid="33" name="MSIP_Label_5088a418-f430-4305-9955-63834dc14707_ActionId">
    <vt:lpwstr>f9416ada-2010-4363-ba25-cc620c04e769</vt:lpwstr>
  </property>
  <property fmtid="{D5CDD505-2E9C-101B-9397-08002B2CF9AE}" pid="34" name="MSIP_Label_5088a418-f430-4305-9955-63834dc14707_ContentBits">
    <vt:lpwstr>0</vt:lpwstr>
  </property>
</Properties>
</file>